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8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4"/>
    <p:sldMasterId id="2147483672" r:id="rId5"/>
    <p:sldMasterId id="2147483682" r:id="rId6"/>
    <p:sldMasterId id="2147483687" r:id="rId7"/>
    <p:sldMasterId id="2147483700" r:id="rId8"/>
    <p:sldMasterId id="2147483706" r:id="rId9"/>
    <p:sldMasterId id="2147483720" r:id="rId10"/>
    <p:sldMasterId id="2147483725" r:id="rId11"/>
  </p:sldMasterIdLst>
  <p:notesMasterIdLst>
    <p:notesMasterId r:id="rId13"/>
  </p:notesMasterIdLst>
  <p:handoutMasterIdLst>
    <p:handoutMasterId r:id="rId14"/>
  </p:handoutMasterIdLst>
  <p:sldIdLst>
    <p:sldId id="1469" r:id="rId12"/>
  </p:sldIdLst>
  <p:sldSz cx="9144000" cy="5143500" type="screen16x9"/>
  <p:notesSz cx="14355763" cy="9926638"/>
  <p:custDataLst>
    <p:tags r:id="rId15"/>
  </p:custDataLst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07ACB740-76C1-4CDA-8418-66AF3E0D2E12}">
          <p14:sldIdLst>
            <p14:sldId id="1469"/>
          </p14:sldIdLst>
        </p14:section>
        <p14:section name="Backups" id="{D810126B-E50F-454F-B287-B98F5DC8609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597" userDrawn="1">
          <p15:clr>
            <a:srgbClr val="A4A3A4"/>
          </p15:clr>
        </p15:guide>
        <p15:guide id="2" pos="24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ierry Fraudet" initials="TF" lastIdx="5" clrIdx="0"/>
  <p:cmAuthor id="2" name="Lea" initials="L" lastIdx="1" clrIdx="1">
    <p:extLst>
      <p:ext uri="{19B8F6BF-5375-455C-9EA6-DF929625EA0E}">
        <p15:presenceInfo xmlns:p15="http://schemas.microsoft.com/office/powerpoint/2012/main" userId="Lea" providerId="None"/>
      </p:ext>
    </p:extLst>
  </p:cmAuthor>
  <p:cmAuthor id="3" name="NICOLAS CHEVALIER" initials="NC" lastIdx="1" clrIdx="2">
    <p:extLst>
      <p:ext uri="{19B8F6BF-5375-455C-9EA6-DF929625EA0E}">
        <p15:presenceInfo xmlns:p15="http://schemas.microsoft.com/office/powerpoint/2012/main" userId="0b620b125fcccd4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A5D"/>
    <a:srgbClr val="406B9C"/>
    <a:srgbClr val="00CC9B"/>
    <a:srgbClr val="95C11F"/>
    <a:srgbClr val="ADD8F1"/>
    <a:srgbClr val="F39200"/>
    <a:srgbClr val="5FBFBB"/>
    <a:srgbClr val="FFE48F"/>
    <a:srgbClr val="FFDB69"/>
    <a:srgbClr val="9BBB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5184AAC-C504-7C4C-ADD7-FD7E06404A80}" v="33" dt="2020-10-16T16:44:16.865"/>
    <p1510:client id="{9F6DE526-DB94-4F98-9AEE-89C72B33BA93}" v="7" dt="2020-10-20T16:31:35.67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082" autoAdjust="0"/>
    <p:restoredTop sz="78556" autoAdjust="0"/>
  </p:normalViewPr>
  <p:slideViewPr>
    <p:cSldViewPr snapToGrid="0">
      <p:cViewPr varScale="1">
        <p:scale>
          <a:sx n="117" d="100"/>
          <a:sy n="117" d="100"/>
        </p:scale>
        <p:origin x="1131" y="60"/>
      </p:cViewPr>
      <p:guideLst>
        <p:guide orient="horz" pos="1597"/>
        <p:guide pos="2426"/>
      </p:guideLst>
    </p:cSldViewPr>
  </p:slideViewPr>
  <p:outlineViewPr>
    <p:cViewPr>
      <p:scale>
        <a:sx n="33" d="100"/>
        <a:sy n="33" d="100"/>
      </p:scale>
      <p:origin x="0" y="80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9" d="100"/>
        <a:sy n="59" d="100"/>
      </p:scale>
      <p:origin x="0" y="0"/>
    </p:cViewPr>
  </p:sorterViewPr>
  <p:notesViewPr>
    <p:cSldViewPr snapToGrid="0" showGuides="1">
      <p:cViewPr varScale="1">
        <p:scale>
          <a:sx n="114" d="100"/>
          <a:sy n="114" d="100"/>
        </p:scale>
        <p:origin x="2376" y="45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9BFAC1C7-9E5D-4441-A8DE-D4FA72AEF22D}" type="datetimeFigureOut">
              <a:rPr lang="fr-FR" smtClean="0"/>
              <a:t>20/10/2020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3549939F-CAB9-FE40-8FD3-31C143F5FB1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042528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10-28T16:14:20.785"/>
    </inkml:context>
    <inkml:brush xml:id="br0">
      <inkml:brushProperty name="width" value="0.05" units="cm"/>
      <inkml:brushProperty name="height" value="0.05" units="cm"/>
      <inkml:brushProperty name="color" value="#366B7A"/>
    </inkml:brush>
  </inkml:definitions>
  <inkml:trace contextRef="#ctx0" brushRef="#br0">303 215 8064,'-15'9'4345,"-20"-1"-3495,11-2-792,4-1-51,13-3 69,-2 1 0,2-1-1,-2 1 1,2 0 0,0 0-1,-1 1 1,2 0 0,-2 1-1,1-1 1,0 2 0,2-2-1,-1 2 1,0 0 0,-4 5-76,-4 7 111,1 3 1,2-1 0,-1 1-1,2 0 1,-7 23-112,11-28 177,2 0 1,0-1-1,0 1 1,2-1 0,1 3-1,-1-3 1,2 2-1,2 16-177,-2-28 28,1 0 1,0 2-1,0-3 0,1 1 1,0 1-1,-1 0 0,2-2 1,-2 2-1,2-2 0,0 1 0,0 0 1,1 0-1,-1-1 0,1 0 1,0 0-1,-1-1 0,2 1 0,-1-1 1,1 1-1,-1-1 0,1 1 1,0-2-1,0 1 0,0-1 1,0 1-1,0-3 0,1 2 0,-1 0 1,1-1-1,0-1 0,-2 2 1,2-2-1,-1 0 0,1 0 1,0 0-1,0-2-28,26-3 355,3 0 1,-2-2-1,33-12-355,-65 19 0,0-1-1,1 1 0,0 0 0,-1 0 0,1 0 0,0-2 0,0 2 0,-1 0 0,1 2 1,0-2-1,0 0 0,-1 0 0,1 0 0,-1 1 0,2-1 0,-2 2 0,1-2 1,-1 1-1,1-1 0,-1 2 0,0-1 0,1-1 0,-1 1 1,5 6-25,-1-4 0,0 3 0,0 0 0,-1 0-1,2 2 26,15 20 2,-18-27-7,-2 0 0,0 0-1,3 1 1,-3 0 0,2-1 0,-2 1-1,2-2 1,-1 1 0,0 0-1,1-1 1,-1 0 0,1 2-1,-1-2 1,0 0 0,1 0-1,-1 0 1,2 0 0,-3 0-1,2 0 1,0 0 0,-2-2 0,2 2-1,0 0 1,-2-1 0,2 0-1,-1 1 1,0-2 0,0 1-1,1-1 6,9-5-61,-1 0-1,0-2 0,0 1 0,-1-1 0,-1-1 62,8-6-166,-10 11 215,-2-1 0,2 2 0,-1-3 0,1 4 0,0-2 1,0 1-1,0 1 0,0 1 0,0-3 0,2 3 0,-1 0 0,1 0 0,-2-1 0,1 3 0,-1-1 0,2 0 0,-1 1 0,-1 0 0,2 1 0,0-1 0,-2 1 1,1 1-1,-1-1 0,2 2 0,1 0-49,3 2 10,0-3 0,0 1 0,0 0 0,0-2-1,-1 0 1,2-1 0,0 0 0,-2-1 0,2 0 0,-2 0 0,1-3 0,0 2 0,9-4-10,-3-1 50,-1 0 0,0-2 0,1-1-1,-2 0 1,0-1 0,1-1 0,-1 0 0,5-9-50,92-61 293,-109 75-249,0 2 1,-1-1-1,1-1 0,-2 1 0,2-1 1,-1 0-1,-1 0 0,1 0 1,-2-1-1,1 1 0,-1 0 0,-1 0 1,1-2-1,-2 2 0,2-8-44,-2-7 145,0-1 0,0 0-1,-2 0 1,-5-19-145,6 34 98,0-1 0,-2 1 0,0-1 1,0 0-1,-1 1 0,0 1 0,1-2 1,-3 2-1,1-1 0,0 1 0,0 0 1,-2 0-1,2 0 0,-7-4-98,0 2 135,1 1 1,-2 0-1,1 0 1,-2 1-1,2 0 0,-2 1 1,0 0-1,-8-1-135,-14-3 122,0 0 0,-1 3 0,1 1-1,-1 3 1,-1 1 0,-6 0-122,4 4 31,-2 0 0,2 4 1,-1 0-1,0 2 0,1 2 0,2 3 1,-32 13-32,51-18 47,0 2 1,2 1 0,0 0 0,-1 2 0,1 0-48,-18 14 54,16-14-234,2-1 0,2 2 1,-2 0-1,1 0 0,2 2 0,0 0 0,-10 15 180,24-29-144,-1-1 0,1-1 0,0 2 0,-2-1 0,2 0-1,-2-1 1,2 2 0,0-1 0,0 1 0,-1-1 0,1 0 0,0-1 0,0 2-1,0-1 1,0 1 0,0 0 0,0-1 0,0 0 0,0-1 0,1 1-1,-1 1 145,0 0-130,2-2 0,-2 1 1,0-1-1,2 0 0,-2 1 0,1-1 0,-1 1 0,1-1 0,-1 0 0,1 0 0,-1 2 0,2-2 0,-2 0 0,2 0 0,-1 2 0,-1-2 0,1 0 0,-1 0 0,1 0 0,-1 0 0,2 0 0,0 0 0,-2 0 0,1 0 0,-1 0 0,2 0 0,-1 0 0,-1-2 130,25-2-74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10-28T16:14:21.706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1 5376,'12'0'8619,"-5"2"-6879,-6-1-1756,-1-1 1,0 2 0,1-2-1,-1 1 1,0-1 0,2 0-1,-2 2 1,0-2-1,1 1 1,-1 0 0,0-1-1,0 3 1,0-3 0,0 1-1,0-1 1,2 1 0,-2-1-1,0 2 1,0-2 0,0 2-1,0-1 1,-2 0 15,34-1 197,-28 0-383,-4 0 110,0 0 0,2 0 1,-2 0-1,1 0 0,-1 0 0,2 0 1,-2 0-1,2 0 0,-2 0 0,0 0 1,1 0-1,-1 0 0,1-1 0,-1 1 1,1 0-1,-1 0 0,2-1 0,-2 1 1,0 0-1,2-2 76,3-5-26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10-28T16:14:23.330"/>
    </inkml:context>
    <inkml:brush xml:id="br0">
      <inkml:brushProperty name="width" value="0.05" units="cm"/>
      <inkml:brushProperty name="height" value="0.05" units="cm"/>
      <inkml:brushProperty name="color" value="#FF7C80"/>
    </inkml:brush>
  </inkml:definitions>
  <inkml:trace contextRef="#ctx0" brushRef="#br0">51 599 10624,'0'-16'4352,"0"-6"-3099,2 21-862,1 6-344,4 7-139,-3-2 73,-1 2-1,-1 0 0,1-1 0,-1 0 0,-1 1 0,1-1 0,-2 2 20,0-4 139,0 0 0,1-1 1,-1-1-1,1 2 0,1-1 0,1 1 0,-1-2 0,0 2 0,1-2 0,1 1 1,-1-1-1,2 0 0,2 5-139,-6-10 9,0-1-1,2 1 1,-1-2 0,-1 2-1,2-2 1,-2 2 0,2-1 0,-1-1-1,0 2 1,0-2 0,1 1 0,0-1-1,-2 0 1,2 1 0,0-1 0,-2 0-1,2 0 1,-1 0 0,1-1-1,-1 1 1,1 0-9,11-3-45,0 0 0,-2 1 1,5-5 44,-5 4-23,59-23-260,-51 17 655,1 1 0,3 1 1,-3 0-1,24-3-372,-40 10 66,0 0-1,0 0 1,1 0 0,-1 0 0,0 2-1,0-1 1,0-1 0,1 2 0,-2 1 0,2-2-1,-2 0 1,2 2 0,-2 1 0,3-1-66,8 6 249,-3 1 1,2 2 0,10 11-250,-16-13 97,3-2 1,-1 1 0,1 0-1,0-1 1,0-1 0,1 0-98,-7-4 35,0-1 0,1 0 0,-2 0 0,2-1 0,-1 1 0,1 0 0,-2-2 0,3 2 0,-1-2 0,0 0 0,-1 0 0,1 0 0,0 0 0,-2-2 0,2 2 0,-1 0 0,1-2 0,-1 0 0,0-1 0,0 2 0,0-2 0,1 2 0,-2-2 0,0 0 0,2-1 0,-2 0 0,1 2 0,-3-3 0,3 2 0,1-2-35,12-16 195,0-1-1,-1-1 1,9-17-196,13-18 416,-36 58-420,0-2 0,0 1 0,0-1 0,-1 2 0,2-2 0,-2 2 0,3-1 1,-2 1-1,-1 0 0,1 0 0,0 0 0,0 0 0,1 0 0,-1 1 0,0-1 5,9 2-92,-5-2 90,-2 0 0,1 0 0,1-2 0,-1 2 0,-1-1 0,2 0 1,-2 0-1,0-3 0,2 3 0,-2-1 0,1-2 0,0 1 0,-2 1 0,1-1 0,2-2 0,-4 3 0,2-3 0,-1 1 0,3-3 2,19-20 39,-3-2 0,-2-1-1,0 0 1,-2-2 0,0 0 0,4-15-39,16-25 370,-37 67-349,3-2 16,-1 0 1,1 0-1,-2 0 0,2 0 1,1 2-1,1-4-37,-3 11 93,-2 9-65,-1 15-14,-1-23 6,0-2-14,1 32 128,5-23-59,-6-10-74,1 0 1,-1 0-1,0 0 1,2 0-1,-2 0 1,0-1-1,1 1 1,-1 0-1,0 0 1,2 0-1,-2 0 1,0 0-1,2 0 1,-2-2-1,0 2 1,0 0-1,1 0 1,-1-1-1,0 1 1,0 0-1,1 0 1,-1-2 0,0 2-1,0 0 1,0-1-1,0 1 1,1 0-2,4-8 9,-3 0 1,3-1-1,-3 1 1,2-1-1,-3 1 1,2-1-1,-2 1 1,1-1-1,-1 1 1,-1-1-1,0 0 1,0 0-1,-1 0 1,-1-7-10,1 10 17,0 2 1,-1-1-1,1 0 0,-3 0 0,4 1 1,-3 0-1,-1 0 0,2-1 1,-1 1-1,0 1 0,1-1 0,-3 1 1,2-1-1,-4-2-17,1 2 25,-1-1 0,0 1 0,0 0-1,-1 0 1,1 1 0,-1-1 0,1 2 0,-6-3-25,-7 2 83,-1-1 1,0 1 0,0 3 0,1 0 0,-2 0 0,-12 2-84,-22 6 239,1 3 1,0 3-1,-49 19-239,22-8 98,69-22-78,-1 1 0,-1-1 0,1-3 1,-2 2-1,2 0 0,-1-2 0,1-2 0,0 0 0,0 2 1,-3-3-21,8-1 11,-3 3 1,2-1 0,0-3 0,0 1 0,2-1 0,-2 1 0,1 0 0,-1-2-1,1 1 1,1-3 0,-1 2 0,2-1 0,0-1 0,-1 1-12,-13-19-45,13 14 29,-1 1 0,0 1 0,-1 0-1,-6-5 17,14 13 5,-1 0 0,-2-1 0,3 2 0,-1-2 0,-1 2 0,1-1 0,-2 0 0,3 1-1,-3 0 1,1 1 0,1-1 0,-1 1 0,-1-2 0,2 2 0,-1 0 0,1 0 0,-2 0 0,1 2-5,-9-1 21,0 1 0,1 2 0,0 0 0,0 0 0,-1 2 0,2-2 1,-1 3-1,1-1 0,-6 6-21,-3 3-1,-2 1 0,4 1 0,-1 2 0,-3 3 1,5-5-41,13-13 33,1-1-1,-1 1 0,1 1 0,-1-2 1,1 2-1,0-1 0,1 1 1,0 0-1,-1 0 0,1 2 9,-7 12 7,3 0 0,0 2 0,1 0 0,0-1-1,2 0 1,1 1 0,0 8-7,2 13 24,2-2 0,1 1 0,6 23-24,-4-46-284,-1 0 0,0-1-1,2 0 1,1-1 0,0 1 0,1-2 0,1 1 0,0 0 0,6 2 284,-5-6-773,4-5 335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10-28T16:14:25.384"/>
    </inkml:context>
    <inkml:brush xml:id="br0">
      <inkml:brushProperty name="width" value="0.05" units="cm"/>
      <inkml:brushProperty name="height" value="0.05" units="cm"/>
      <inkml:brushProperty name="color" value="#0070C0"/>
    </inkml:brush>
  </inkml:definitions>
  <inkml:trace contextRef="#ctx0" brushRef="#br0">310 166 10624,'-4'3'775,"1"2"1,1-2 0,-3 1-1,2-1 1,1 1 0,-3-1-1,0 1-775,-8 6 919,-2-2 0,-13 8-919,-6 1-190,17-5 506,0 0-1,1 2 1,1-2 0,-1 2 0,2 1 0,-1 1-1,-4 8-315,12-14 67,-1 0-1,2 0 0,-1 0 0,2 0 1,0 2-1,1-1 0,0 1 0,0-1 1,1 0-1,-1 1 0,3 0 0,0-1 1,0 9-67,1-18 27,0 0 0,-2 1 0,4-1 0,-2 1 1,0-3-1,0 4 0,0-3 0,1 2 0,-1-2 1,1 2-1,-1-1 0,1 1 0,1-2 0,-2 0 1,2 2-1,-1-1 0,1-1 0,-1 2 0,0-2 1,1 1-1,-1 0 0,2-2 0,-2 2 0,1-1 0,1 1-27,2 1 91,2-2 0,-2 0 0,0 1 0,2 0 0,-2-1 0,1-1 0,0 0 0,-1 2 0,6-4-91,1 2 57,1 0 0,-2 2-1,3-2 1,-2 2 0,1 1-1,-2 0 1,3 0 0,-3 1-1,0 0 1,1 3 0,0-2-1,-1 0 1,-1 2 0,2 1-1,-3-1 1,6 4-57,-13-8 7,3 1 1,-1-2-1,-1 1 1,2 0-1,-2-2 0,2 2 1,-1-1-1,1-1 1,0 1-1,-1-1 0,1 0 1,0-1-1,0 2 1,-1-2-1,3 0-7,9 0-22,0 0 0,1-2 0,13-2 22,1-2 120,8 2 5,1-3-1,0-2 1,-1-1-1,-1-2 1,2-2-1,-2 0 0,-2-3 1,1-2-1,16-12-124,-33 18 69,-7 3-62,0 1 0,-1 2 1,2-2-1,-2 4 0,3-2 0,9-2-7,-21 8 9,0 1 0,0 0 0,0 0 0,-1 0 0,1 0 0,0 0 1,0 1-1,0-1 0,0 2 0,-1-2 0,2 1 0,-2 0 0,1-1 0,-1 2 0,1-1 0,-1 1-9,44 31 126,-15-11-39,-20-15-86,0 0 1,0-2 0,1 0 0,1-1 0,-2 0 0,3-1-1,-4 0 1,4-1 0,-2-2 0,2 2 0,-2-1 0,0-1 0,0-1-1,2-1 1,1 2-2,1-4 18,-2 0 0,3 1 1,-3-2-1,0-1 0,0 0 0,1-1 0,-1 0 0,-1-1 0,-1 0 1,2-2-1,-2 2 0,2-6-18,-5 4 41,-1 0 1,0-1-1,-1 1 0,0-2 1,-1 1-1,0-2 0,0 2 1,1-9-42,-7 20 2,0 0 1,0 0 0,0 0 0,0 0 0,0 0 0,0 0 0,0 0 0,0 0 0,0 0-1,0 0 1,0-2 0,0 2 0,0 0 0,0 0 0,0 0 0,1 0 0,-1 0-1,0 0 1,0 0 0,0 0 0,0 0 0,0 0 0,0 0 0,0 0 0,0 0 0,0 0-1,0 0 1,0 0 0,2 0 0,-2 0 0,0 0 0,0 0 0,0 0 0,0 0 0,0 0-1,0 0 1,0 0 0,0 0 0,0 0 0,0 0 0,0 0 0,1 2 0,-1-2-1,0 0 1,0 0 0,0 0 0,0 0 0,0 0 0,0 0 0,0 0 0,0 0 0,0 0-1,0 0 1,0 0 0,0 0 0,0 0 0,0 1 0,0-1 0,0 0-3,8 13 58,-6-12-53,-1 2 0,1 0 0,-1-2 0,1 2 0,-1 1 1,2-4-1,-2 2 0,1 1 0,0-1 0,0-1 0,1 1 0,-1 0 0,0 0 0,1-1 0,-1 1 0,3-1-5,-3-1 3,-1 0 0,2-1 0,-2 1 0,1-2 0,-1 2 1,1-1-1,1-1 0,-2 2 0,0-2 0,1 1 0,-1 0 0,1 0 0,0-1 1,-2 0-1,2 1 0,-1-1 0,-1 2 0,2-2 0,0 0-3,19-37 24,-18 34-38,7-16 37,0-1-1,-3-1 1,2 1-1,-4-3 1,1 2-1,-2-1 1,-1 1-1,-2-1 1,1-8-23,-2 22 22,0 0 0,-2 0-1,1 0 1,0 0 0,-4-6-22,5 13 2,-1 1 0,1-2 0,-2 1 0,1 1 0,0-1-1,-1 0 1,1 2 0,-1-2 0,0 0 0,0 0 0,1 2 0,-3-2 0,3 1 0,-1 1 0,0-2 0,-1 2 0,1-1-1,-2 0 1,3 1 0,-2 0 0,-1 0-2,2 1 2,1 0 0,0-2 0,-2 2 0,1 0 0,1 0 0,-1 0 0,0 0 0,0 2 0,1-2 1,-1 0-1,0 1 0,0-1 0,1 0 0,-1 1 0,0-1 0,1 1 0,-1 1-2,-31 21-2,16-10-25,-1-1 28,3-3-4,1 1 0,0-1 0,-1-1 0,-10 3 3,19-8 4,-1-2 0,2 0 0,-2 1-1,0-1 1,2-1 0,-2 0 0,1 2-1,-1-2 1,1-2 0,-1 2 0,1-1 0,0-1-1,-1 1 1,-1 0-4,-28-13-25,12 7 29,1 0 0,-2 0 0,1 1 1,-1 4-1,1-3 0,-10 3-4,14 2-7,0 2-1,1 1 0,-1 0 0,0 1 1,-16 6 7,-19 9 5,-17 11-5,58-25-9,6 0 1,0-2 1,-1-1-1,1 2 1,-1-1-1,1-3 1,-1 2 0,-1 0-1,1-2 1,1 1-1,-1-1 1,1-1 0,-3 1-1,3-2 1,-1 0-1,1 0 1,-1 1 0,0-3-1,-3 1 8,-14-9 18,0 3 0,1 1-1,-3 1 1,-13-2-18,27 7 6,2 1 0,-1 0 1,0 1-1,0 0 0,-1 1 0,1 0 1,0 1-1,1 1 0,-2-1 1,-5 5-7,-26 12 4,-1 3 1,-21 15-5,41-22 17,16-10 46,-1 1 0,2-2 0,-3 0 0,2 1 0,-2-2 0,2 1 0,-2-2 0,0 0 0,1-1 0,-11 1-63,20-2 29,0 0 1,-1 2-1,1-2 1,-1 1-1,0-1 1,1 2 0,0-2-1,-1 1 1,1 0-1,0 1 1,0-1 0,-1 2-30,0-3-177,2 1 1,0 1 0,-1-1 0,-1 1-1,1-2 1,0 1 0,0-1 0,-1 2-1,2-2 1,0 0 0,-2 1 0,0-1 176,3 0-255,0 0 1,0 0 0,-2-1-1,2 1 1,0 0 0,0 0-1,-1 0 1,1 0 0,0-2-1,0 2 1,-1 0 0,1 0-1,0-1 1,0 1 0,0 0-1,-2 0 1,2-2 0,0 2-1,0 0 1,0-1 0,0 1-1,0 0 1,0 0 0,0-2-1,0 2 1,0 0 0,0-1-1,0 1 1,0 0 0,0-1-1,0 1 1,0 0 0,0-2-1,0 2 1,0 0 0,0 0-1,0-1 1,0 1 0,0 0-1,2-2 1,-2 2 0,0 0-1,0 0 1,0-1 0,1 1 254,10-25-4528,1-1 2784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10-28T16:14:26.622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7 9 8320,'-13'-9'5482,"10"11"-2480,6 5-2260,11 10-6,0-2 0,1-1-1,6 5-735,25 26 678,-10-5 23,7 17-701,28 32 910,-33-46-527,52 55-41,-77-84-252,0-2 0,-1 2 0,-2-2 0,1 2 0,-1 1 0,-2 1 0,8 13-90,-16-29 28,0 2 1,0-2 0,0 0 0,0 0 0,0 1-1,0-1 1,0 0 0,0 0 0,0 0 0,0 2-1,0-2 1,0 0 0,0 0 0,0 0 0,0 2-1,0-2 1,0 0 0,0 0 0,-1 0 0,1 1-1,0-1 1,0 0 0,0 0 0,0 0 0,-1 0-1,1 0 1,0 1 0,0-1 0,0 0 0,-2 0-1,2 0 1,0 0 0,0 0 0,0 0 0,-1 0-1,1 0 1,0 0 0,0 0 0,0 0 0,-2 0-1,2 0 1,0 0 0,0 0 0,-1 0 0,1 0-1,0 0 1,0 0 0,0 0 0,-1 0 0,1 0-1,0 0 1,0 0 0,0-1-29,-21-5 191,-1-11-126,19 15-60,-2 1 0,3-2 0,-2 2 1,2-3-1,-1 2 0,0-1 0,-3-2-5,-20-21 43,21 20-30,-1 0 0,0 1 0,1-1 0,0 0 0,0-1 0,0 0 0,1-2-13,-32-64 16,12 20 167,-24-34-183,38 69 57,-1 1-1,-1 2 1,0 1-1,-3-2 1,2 1-1,-17-11-56,14 14 64,-5-5 73,-1-1 0,1 3 0,-22-9-137,66 34-27,-2 5 0,-1-1 1,2 2-1,-4 0 0,14 14 27,94 103 11,-18-19 112,35 22-123,-69-58-1424,-75-81 815,-1 2-1,2-2 1,0-1 0,-2 4 0,2-3-1,-2-1 1,2 2 0,-1-1-1,1 0 1,0 1 0,0 0 0,0-1-1,0 0 1,1-1 609,-1-17-4280,-4-11 776,3-5 1664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10-28T16:14:27.443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54 487 9216,'-31'24'5857,"26"-18"-5547,0 0 0,1 0 0,-1-1 0,1 0 0,0 3 0,-2 3-310,5-9 192,1-2 69,0-12 279,1 0 0,1-1 0,0 1-1,1-1 1,0 2 0,1-1 0,2-3-540,5-13 601,3 2 0,7-15-601,27-32 917,16-19-917,-14 23 97,-33 43-83,5-5 40,0 2 0,6-6-54,-21 27 101,-10 6-111,-13 14-81,-68 64 11,61-57 156,-1 3 0,3-1 0,1 2 0,-16 24-76,-62 105 709,84-133-660,-20 36 399,-6 3-448,40-56 25,5-5-40,9-9-54,7-19-30,16-19-650,-23 36-102,-5 3-226,0 0 0,1 1 0,-2-1 0,-1-3 0,2 3 0,-1-2 0,-3 1 1,6-10 1076,7-46-1344</inkml:trace>
</inkml:ink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6D15EC3C-BFA7-9E4C-BB13-BAA5658834CA}" type="datetimeFigureOut">
              <a:rPr lang="fr-FR" smtClean="0"/>
              <a:t>20/10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68738" y="744538"/>
            <a:ext cx="6618287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51" tIns="69376" rIns="138751" bIns="69376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97545" y="4715155"/>
            <a:ext cx="12648142" cy="3116537"/>
          </a:xfrm>
          <a:prstGeom prst="rect">
            <a:avLst/>
          </a:prstGeom>
        </p:spPr>
        <p:txBody>
          <a:bodyPr vert="horz" lIns="138751" tIns="69376" rIns="138751" bIns="69376" rtlCol="0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5DEDB5E3-C477-CC4C-8674-BAC7A0562584}" type="slidenum">
              <a:rPr lang="fr-FR" smtClean="0"/>
              <a:t>‹N°›</a:t>
            </a:fld>
            <a:endParaRPr lang="fr-FR"/>
          </a:p>
        </p:txBody>
      </p:sp>
      <p:pic>
        <p:nvPicPr>
          <p:cNvPr id="9" name="Graphique 8" descr="Cible">
            <a:extLst>
              <a:ext uri="{FF2B5EF4-FFF2-40B4-BE49-F238E27FC236}">
                <a16:creationId xmlns:a16="http://schemas.microsoft.com/office/drawing/2014/main" id="{D55A4087-F0C7-4BFF-885C-5D4194568E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8133806"/>
            <a:ext cx="1914102" cy="992664"/>
          </a:xfrm>
          <a:prstGeom prst="rect">
            <a:avLst/>
          </a:prstGeom>
        </p:spPr>
      </p:pic>
      <p:sp>
        <p:nvSpPr>
          <p:cNvPr id="10" name="Espace réservé des commentaires 4">
            <a:extLst>
              <a:ext uri="{FF2B5EF4-FFF2-40B4-BE49-F238E27FC236}">
                <a16:creationId xmlns:a16="http://schemas.microsoft.com/office/drawing/2014/main" id="{9EA060DA-AD3F-4E58-9E10-24B2ED513D81}"/>
              </a:ext>
            </a:extLst>
          </p:cNvPr>
          <p:cNvSpPr txBox="1">
            <a:spLocks/>
          </p:cNvSpPr>
          <p:nvPr/>
        </p:nvSpPr>
        <p:spPr>
          <a:xfrm>
            <a:off x="1996306" y="8002211"/>
            <a:ext cx="10796666" cy="1162421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6107043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/>
              <a:t>ROLE</a:t>
            </a:r>
            <a:endParaRPr lang="fr-FR" sz="1800" dirty="0"/>
          </a:p>
          <a:p>
            <a:r>
              <a:rPr lang="en-US" sz="1800" u="sng" dirty="0"/>
              <a:t>Need a systemic approach to build resilient distributed systems (full-stack) and that provides an great user experience (end-to-end processes, usage)</a:t>
            </a:r>
            <a:endParaRPr lang="fr-FR" sz="1800" dirty="0"/>
          </a:p>
          <a:p>
            <a:r>
              <a:rPr lang="en-US" sz="1800" dirty="0"/>
              <a:t> </a:t>
            </a:r>
            <a:endParaRPr lang="fr-FR" sz="1800" dirty="0"/>
          </a:p>
          <a:p>
            <a:r>
              <a:rPr lang="en-US" sz="1800" dirty="0"/>
              <a:t>RITUALS</a:t>
            </a:r>
            <a:endParaRPr lang="fr-FR" sz="1800" dirty="0"/>
          </a:p>
          <a:p>
            <a:r>
              <a:rPr lang="en-US" sz="1800" dirty="0"/>
              <a:t>MVP SCOPING 360°</a:t>
            </a:r>
            <a:endParaRPr lang="fr-FR" sz="1800" dirty="0"/>
          </a:p>
          <a:p>
            <a:r>
              <a:rPr lang="en-US" sz="1800" dirty="0"/>
              <a:t>BOOSTER FEEDBACKS</a:t>
            </a:r>
            <a:endParaRPr lang="fr-FR" sz="1800" dirty="0"/>
          </a:p>
          <a:p>
            <a:r>
              <a:rPr lang="en-US" sz="1800" dirty="0"/>
              <a:t> </a:t>
            </a:r>
            <a:endParaRPr lang="fr-FR" sz="1800" dirty="0"/>
          </a:p>
          <a:p>
            <a:r>
              <a:rPr lang="en-US" sz="1800" dirty="0"/>
              <a:t>PRACTICES</a:t>
            </a:r>
            <a:endParaRPr lang="fr-FR" sz="1800" dirty="0"/>
          </a:p>
          <a:p>
            <a:r>
              <a:rPr lang="en-US" sz="1800" dirty="0"/>
              <a:t>DDD TO REDUCE AND MANAGE TEAM DEPENDANCIES</a:t>
            </a:r>
            <a:endParaRPr lang="fr-FR" sz="1800" dirty="0"/>
          </a:p>
          <a:p>
            <a:endParaRPr lang="en-US" sz="1800" u="sng" dirty="0"/>
          </a:p>
          <a:p>
            <a:r>
              <a:rPr lang="en-US" sz="1800" u="sng" dirty="0"/>
              <a:t>KEY MESSAGES</a:t>
            </a:r>
            <a:endParaRPr lang="fr-FR" sz="1800" dirty="0"/>
          </a:p>
          <a:p>
            <a:endParaRPr lang="fr-FR" dirty="0"/>
          </a:p>
          <a:p>
            <a:r>
              <a:rPr lang="en-US" sz="1800" dirty="0"/>
              <a:t>SYSTEMIC </a:t>
            </a:r>
            <a:endParaRPr lang="fr-FR" sz="1800" dirty="0"/>
          </a:p>
          <a:p>
            <a:r>
              <a:rPr lang="en-US" sz="1800" dirty="0"/>
              <a:t> </a:t>
            </a:r>
            <a:endParaRPr lang="fr-FR" sz="1800" dirty="0"/>
          </a:p>
          <a:p>
            <a:r>
              <a:rPr lang="en-US" sz="1800" dirty="0"/>
              <a:t>SCOPING 360° </a:t>
            </a:r>
            <a:endParaRPr lang="fr-FR" sz="1800" dirty="0"/>
          </a:p>
          <a:p>
            <a:r>
              <a:rPr lang="en-US" sz="1800" dirty="0"/>
              <a:t> </a:t>
            </a:r>
            <a:endParaRPr lang="fr-FR" sz="1800" dirty="0"/>
          </a:p>
          <a:p>
            <a:r>
              <a:rPr lang="en-US" sz="1800" dirty="0"/>
              <a:t>DEPENDANCIE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EDB5E3-C477-CC4C-8674-BAC7A0562584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469410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graphicFrame>
        <p:nvGraphicFramePr>
          <p:cNvPr id="11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86247098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2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2385" y="222917"/>
            <a:ext cx="2021336" cy="118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6321" y="4227180"/>
            <a:ext cx="1813463" cy="938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9072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81153" y="154662"/>
            <a:ext cx="2240866" cy="1178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85190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25964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6" name="Image 5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946" y="668868"/>
            <a:ext cx="3500054" cy="2042256"/>
          </a:xfrm>
          <a:prstGeom prst="rect">
            <a:avLst/>
          </a:prstGeom>
        </p:spPr>
      </p:pic>
      <p:pic>
        <p:nvPicPr>
          <p:cNvPr id="9" name="Image 8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370673"/>
            <a:ext cx="3386571" cy="2547558"/>
          </a:xfrm>
          <a:prstGeom prst="rect">
            <a:avLst/>
          </a:prstGeom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19704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 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6972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1980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14708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8631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85926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514600" y="2037915"/>
            <a:ext cx="4114800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89314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171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2E27339-EA36-444E-85CB-9D714C78FFA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CC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9252" lvl="1"/>
            <a:endParaRPr lang="en-US" sz="1100" dirty="0">
              <a:latin typeface="Michelin Black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334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767536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2310" y="157119"/>
            <a:ext cx="2215108" cy="130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1141" y="423189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22014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60053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94394" y="4046923"/>
            <a:ext cx="2021336" cy="118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41144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267024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pic>
        <p:nvPicPr>
          <p:cNvPr id="6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7847" y="4038680"/>
            <a:ext cx="2049105" cy="1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18898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2604910" y="2267024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4382" y="469687"/>
            <a:ext cx="5539619" cy="3966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0470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0053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59840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6852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1069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946" y="668868"/>
            <a:ext cx="3500054" cy="2042256"/>
          </a:xfrm>
          <a:prstGeom prst="rect">
            <a:avLst/>
          </a:prstGeom>
        </p:spPr>
      </p:pic>
      <p:pic>
        <p:nvPicPr>
          <p:cNvPr id="3" name="Image 2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370673"/>
            <a:ext cx="3386571" cy="2547558"/>
          </a:xfrm>
          <a:prstGeom prst="rect">
            <a:avLst/>
          </a:prstGeom>
        </p:spPr>
      </p:pic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25964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10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55455220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3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7847" y="4038680"/>
            <a:ext cx="2049105" cy="1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2310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5030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754514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84387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228980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59147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360391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38740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181154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88730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058385"/>
            <a:ext cx="3951112" cy="1120244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8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59366676"/>
              </p:ext>
            </p:extLst>
          </p:nvPr>
        </p:nvGraphicFramePr>
        <p:xfrm>
          <a:off x="-1" y="4970026"/>
          <a:ext cx="6604001" cy="180044"/>
        </p:xfrm>
        <a:graphic>
          <a:graphicData uri="http://schemas.openxmlformats.org/drawingml/2006/table">
            <a:tbl>
              <a:tblPr/>
              <a:tblGrid>
                <a:gridCol w="2469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74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809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634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9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2310" y="157119"/>
            <a:ext cx="2215108" cy="130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1141" y="423189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213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1980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09728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48811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8631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09728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99617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455331" y="1927844"/>
            <a:ext cx="4114800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6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254763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10363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28924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S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4891"/>
          </a:p>
        </p:txBody>
      </p:sp>
    </p:spTree>
    <p:extLst>
      <p:ext uri="{BB962C8B-B14F-4D97-AF65-F5344CB8AC3E}">
        <p14:creationId xmlns:p14="http://schemas.microsoft.com/office/powerpoint/2010/main" val="41402843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3675" y="4031358"/>
            <a:ext cx="1813463" cy="938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571287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9.xml"/><Relationship Id="rId9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5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29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Layout" Target="../slideLayouts/slideLayout33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vmlDrawing" Target="../drawings/vmlDrawing8.v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slideLayout" Target="../slideLayouts/slideLayout37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0.v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54711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e think-cell" r:id="rId12" imgW="270" imgH="270" progId="TCLayout.ActiveDocument.1">
                  <p:embed/>
                </p:oleObj>
              </mc:Choice>
              <mc:Fallback>
                <p:oleObj name="Diapositive think-cell" r:id="rId12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1013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731" r:id="rId8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0586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5299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iapositive think-cell" r:id="rId9" imgW="270" imgH="270" progId="TCLayout.ActiveDocument.1">
                  <p:embed/>
                </p:oleObj>
              </mc:Choice>
              <mc:Fallback>
                <p:oleObj name="Diapositive think-cell" r:id="rId9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732" r:id="rId4"/>
    <p:sldLayoutId id="2147483713" r:id="rId5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5174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7" r:id="rId2"/>
    <p:sldLayoutId id="2147483693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683539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37524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373996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0847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77773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35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ustomXml" Target="../ink/ink3.xml"/><Relationship Id="rId13" Type="http://schemas.openxmlformats.org/officeDocument/2006/relationships/image" Target="../media/image77.emf"/><Relationship Id="rId18" Type="http://schemas.openxmlformats.org/officeDocument/2006/relationships/image" Target="../media/image23.png"/><Relationship Id="rId26" Type="http://schemas.openxmlformats.org/officeDocument/2006/relationships/image" Target="../media/image31.png"/><Relationship Id="rId3" Type="http://schemas.openxmlformats.org/officeDocument/2006/relationships/customXml" Target="../ink/ink1.xml"/><Relationship Id="rId21" Type="http://schemas.openxmlformats.org/officeDocument/2006/relationships/image" Target="../media/image26.png"/><Relationship Id="rId7" Type="http://schemas.openxmlformats.org/officeDocument/2006/relationships/image" Target="../media/image74.emf"/><Relationship Id="rId12" Type="http://schemas.openxmlformats.org/officeDocument/2006/relationships/customXml" Target="../ink/ink5.xml"/><Relationship Id="rId17" Type="http://schemas.openxmlformats.org/officeDocument/2006/relationships/image" Target="../media/image22.png"/><Relationship Id="rId25" Type="http://schemas.openxmlformats.org/officeDocument/2006/relationships/image" Target="../media/image30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1.png"/><Relationship Id="rId20" Type="http://schemas.openxmlformats.org/officeDocument/2006/relationships/image" Target="../media/image25.png"/><Relationship Id="rId29" Type="http://schemas.openxmlformats.org/officeDocument/2006/relationships/image" Target="../media/image34.png"/><Relationship Id="rId1" Type="http://schemas.openxmlformats.org/officeDocument/2006/relationships/slideLayout" Target="../slideLayouts/slideLayout20.xml"/><Relationship Id="rId6" Type="http://schemas.openxmlformats.org/officeDocument/2006/relationships/customXml" Target="../ink/ink2.xml"/><Relationship Id="rId11" Type="http://schemas.openxmlformats.org/officeDocument/2006/relationships/image" Target="../media/image76.emf"/><Relationship Id="rId24" Type="http://schemas.openxmlformats.org/officeDocument/2006/relationships/image" Target="../media/image29.png"/><Relationship Id="rId5" Type="http://schemas.openxmlformats.org/officeDocument/2006/relationships/image" Target="../media/image73.emf"/><Relationship Id="rId15" Type="http://schemas.openxmlformats.org/officeDocument/2006/relationships/image" Target="../media/image78.emf"/><Relationship Id="rId23" Type="http://schemas.openxmlformats.org/officeDocument/2006/relationships/image" Target="../media/image28.png"/><Relationship Id="rId28" Type="http://schemas.openxmlformats.org/officeDocument/2006/relationships/image" Target="../media/image33.png"/><Relationship Id="rId10" Type="http://schemas.openxmlformats.org/officeDocument/2006/relationships/customXml" Target="../ink/ink4.xml"/><Relationship Id="rId19" Type="http://schemas.openxmlformats.org/officeDocument/2006/relationships/image" Target="../media/image24.emf"/><Relationship Id="rId31" Type="http://schemas.openxmlformats.org/officeDocument/2006/relationships/image" Target="../media/image36.png"/><Relationship Id="rId9" Type="http://schemas.openxmlformats.org/officeDocument/2006/relationships/image" Target="../media/image75.emf"/><Relationship Id="rId14" Type="http://schemas.openxmlformats.org/officeDocument/2006/relationships/customXml" Target="../ink/ink6.xml"/><Relationship Id="rId22" Type="http://schemas.openxmlformats.org/officeDocument/2006/relationships/image" Target="../media/image27.png"/><Relationship Id="rId27" Type="http://schemas.openxmlformats.org/officeDocument/2006/relationships/image" Target="../media/image32.png"/><Relationship Id="rId30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Rectangle 596">
            <a:extLst>
              <a:ext uri="{FF2B5EF4-FFF2-40B4-BE49-F238E27FC236}">
                <a16:creationId xmlns:a16="http://schemas.microsoft.com/office/drawing/2014/main" id="{48C1C33C-6B18-49CF-836A-B61B8065B8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5885" y="2885194"/>
            <a:ext cx="103086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fr-FR" altLang="fr-FR" sz="800" b="1" dirty="0">
                <a:solidFill>
                  <a:schemeClr val="accent6">
                    <a:lumMod val="75000"/>
                  </a:schemeClr>
                </a:solidFill>
                <a:latin typeface="Michelin Black" panose="02000000000000000000" pitchFamily="50" charset="0"/>
                <a:cs typeface="Aharoni" panose="02010803020104030203" pitchFamily="2" charset="-79"/>
              </a:rPr>
              <a:t>DELIVERY </a:t>
            </a:r>
          </a:p>
          <a:p>
            <a:pPr algn="ctr" eaLnBrk="1" hangingPunct="1"/>
            <a:r>
              <a:rPr lang="fr-FR" altLang="fr-FR" sz="800" b="1" dirty="0">
                <a:solidFill>
                  <a:schemeClr val="accent6">
                    <a:lumMod val="75000"/>
                  </a:schemeClr>
                </a:solidFill>
                <a:latin typeface="Michelin Black" panose="02000000000000000000" pitchFamily="50" charset="0"/>
                <a:cs typeface="Aharoni" panose="02010803020104030203" pitchFamily="2" charset="-79"/>
              </a:rPr>
              <a:t>TEAMS</a:t>
            </a:r>
          </a:p>
        </p:txBody>
      </p:sp>
      <p:sp>
        <p:nvSpPr>
          <p:cNvPr id="516" name="ZoneTexte 515">
            <a:extLst>
              <a:ext uri="{FF2B5EF4-FFF2-40B4-BE49-F238E27FC236}">
                <a16:creationId xmlns:a16="http://schemas.microsoft.com/office/drawing/2014/main" id="{7B046E29-F189-4400-B215-83D520BFB7D3}"/>
              </a:ext>
            </a:extLst>
          </p:cNvPr>
          <p:cNvSpPr txBox="1"/>
          <p:nvPr/>
        </p:nvSpPr>
        <p:spPr>
          <a:xfrm>
            <a:off x="7485750" y="3868494"/>
            <a:ext cx="17419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5255">
              <a:buClr>
                <a:srgbClr val="1F497D"/>
              </a:buClr>
              <a:defRPr/>
            </a:pPr>
            <a:r>
              <a:rPr lang="fr-FR" sz="600" dirty="0">
                <a:solidFill>
                  <a:schemeClr val="bg1">
                    <a:lumMod val="50000"/>
                  </a:schemeClr>
                </a:solidFill>
                <a:latin typeface="Aharoni" panose="02010803020104030203" pitchFamily="2" charset="-79"/>
                <a:ea typeface="Arial Unicode MS" pitchFamily="34" charset="-128"/>
                <a:cs typeface="Aharoni" panose="02010803020104030203" pitchFamily="2" charset="-79"/>
              </a:rPr>
              <a:t>DOMAIN </a:t>
            </a:r>
          </a:p>
          <a:p>
            <a:pPr algn="ctr" defTabSz="895255">
              <a:buClr>
                <a:srgbClr val="1F497D"/>
              </a:buClr>
              <a:defRPr/>
            </a:pPr>
            <a:r>
              <a:rPr lang="fr-FR" sz="600" dirty="0">
                <a:solidFill>
                  <a:schemeClr val="bg1">
                    <a:lumMod val="50000"/>
                  </a:schemeClr>
                </a:solidFill>
                <a:latin typeface="Aharoni" panose="02010803020104030203" pitchFamily="2" charset="-79"/>
                <a:ea typeface="Arial Unicode MS" pitchFamily="34" charset="-128"/>
                <a:cs typeface="Aharoni" panose="02010803020104030203" pitchFamily="2" charset="-79"/>
              </a:rPr>
              <a:t>DRIVEN </a:t>
            </a:r>
          </a:p>
          <a:p>
            <a:pPr algn="ctr" defTabSz="895255">
              <a:buClr>
                <a:srgbClr val="1F497D"/>
              </a:buClr>
              <a:defRPr/>
            </a:pPr>
            <a:r>
              <a:rPr lang="fr-FR" sz="600" dirty="0">
                <a:solidFill>
                  <a:schemeClr val="bg1">
                    <a:lumMod val="50000"/>
                  </a:schemeClr>
                </a:solidFill>
                <a:latin typeface="Aharoni" panose="02010803020104030203" pitchFamily="2" charset="-79"/>
                <a:ea typeface="Arial Unicode MS" pitchFamily="34" charset="-128"/>
                <a:cs typeface="Aharoni" panose="02010803020104030203" pitchFamily="2" charset="-79"/>
              </a:rPr>
              <a:t>DESIGN</a:t>
            </a:r>
          </a:p>
        </p:txBody>
      </p:sp>
      <p:grpSp>
        <p:nvGrpSpPr>
          <p:cNvPr id="543" name="Groupe 542">
            <a:extLst>
              <a:ext uri="{FF2B5EF4-FFF2-40B4-BE49-F238E27FC236}">
                <a16:creationId xmlns:a16="http://schemas.microsoft.com/office/drawing/2014/main" id="{69D624DD-5121-42BB-970D-051D2928DA60}"/>
              </a:ext>
            </a:extLst>
          </p:cNvPr>
          <p:cNvGrpSpPr/>
          <p:nvPr/>
        </p:nvGrpSpPr>
        <p:grpSpPr>
          <a:xfrm>
            <a:off x="6488331" y="3728862"/>
            <a:ext cx="1221134" cy="707433"/>
            <a:chOff x="6264579" y="2489956"/>
            <a:chExt cx="853200" cy="4942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">
              <p14:nvContentPartPr>
                <p14:cNvPr id="537" name="Encre 536">
                  <a:extLst>
                    <a:ext uri="{FF2B5EF4-FFF2-40B4-BE49-F238E27FC236}">
                      <a16:creationId xmlns:a16="http://schemas.microsoft.com/office/drawing/2014/main" id="{66D6853B-6461-41AB-AF20-228E4E481F10}"/>
                    </a:ext>
                  </a:extLst>
                </p14:cNvPr>
                <p14:cNvContentPartPr/>
                <p14:nvPr/>
              </p14:nvContentPartPr>
              <p14:xfrm>
                <a:off x="6264579" y="2587516"/>
                <a:ext cx="319320" cy="196200"/>
              </p14:xfrm>
            </p:contentPart>
          </mc:Choice>
          <mc:Fallback xmlns="">
            <p:pic>
              <p:nvPicPr>
                <p:cNvPr id="537" name="Encre 536">
                  <a:extLst>
                    <a:ext uri="{FF2B5EF4-FFF2-40B4-BE49-F238E27FC236}">
                      <a16:creationId xmlns:a16="http://schemas.microsoft.com/office/drawing/2014/main" xmlns:p14="http://schemas.microsoft.com/office/powerpoint/2010/main" xmlns="" id="{66D6853B-6461-41AB-AF20-228E4E481F10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6258293" y="2578964"/>
                  <a:ext cx="333149" cy="211544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6">
              <p14:nvContentPartPr>
                <p14:cNvPr id="538" name="Encre 537">
                  <a:extLst>
                    <a:ext uri="{FF2B5EF4-FFF2-40B4-BE49-F238E27FC236}">
                      <a16:creationId xmlns:a16="http://schemas.microsoft.com/office/drawing/2014/main" id="{C8ECB69E-6868-4CAE-87C7-AC5352104D56}"/>
                    </a:ext>
                  </a:extLst>
                </p14:cNvPr>
                <p14:cNvContentPartPr/>
                <p14:nvPr/>
              </p14:nvContentPartPr>
              <p14:xfrm>
                <a:off x="6617019" y="2652676"/>
                <a:ext cx="20160" cy="5760"/>
              </p14:xfrm>
            </p:contentPart>
          </mc:Choice>
          <mc:Fallback xmlns="">
            <p:pic>
              <p:nvPicPr>
                <p:cNvPr id="538" name="Encre 537">
                  <a:extLst>
                    <a:ext uri="{FF2B5EF4-FFF2-40B4-BE49-F238E27FC236}">
                      <a16:creationId xmlns:a16="http://schemas.microsoft.com/office/drawing/2014/main" xmlns:p14="http://schemas.microsoft.com/office/powerpoint/2010/main" xmlns="" id="{C8ECB69E-6868-4CAE-87C7-AC5352104D56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6613995" y="2646916"/>
                  <a:ext cx="28728" cy="17804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539" name="Encre 538">
                  <a:extLst>
                    <a:ext uri="{FF2B5EF4-FFF2-40B4-BE49-F238E27FC236}">
                      <a16:creationId xmlns:a16="http://schemas.microsoft.com/office/drawing/2014/main" id="{BC1C5585-CA20-4B3E-853C-7F85E7DF486A}"/>
                    </a:ext>
                  </a:extLst>
                </p14:cNvPr>
                <p14:cNvContentPartPr/>
                <p14:nvPr/>
              </p14:nvContentPartPr>
              <p14:xfrm>
                <a:off x="6770739" y="2489956"/>
                <a:ext cx="347040" cy="216720"/>
              </p14:xfrm>
            </p:contentPart>
          </mc:Choice>
          <mc:Fallback xmlns="">
            <p:pic>
              <p:nvPicPr>
                <p:cNvPr id="539" name="Encre 538">
                  <a:extLst>
                    <a:ext uri="{FF2B5EF4-FFF2-40B4-BE49-F238E27FC236}">
                      <a16:creationId xmlns:a16="http://schemas.microsoft.com/office/drawing/2014/main" xmlns:p14="http://schemas.microsoft.com/office/powerpoint/2010/main" xmlns="" id="{BC1C5585-CA20-4B3E-853C-7F85E7DF486A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6761428" y="2480654"/>
                  <a:ext cx="365160" cy="234068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540" name="Encre 539">
                  <a:extLst>
                    <a:ext uri="{FF2B5EF4-FFF2-40B4-BE49-F238E27FC236}">
                      <a16:creationId xmlns:a16="http://schemas.microsoft.com/office/drawing/2014/main" id="{AE7FD05E-A0EB-4DAC-972F-FD813B144018}"/>
                    </a:ext>
                  </a:extLst>
                </p14:cNvPr>
                <p14:cNvContentPartPr/>
                <p14:nvPr/>
              </p14:nvContentPartPr>
              <p14:xfrm>
                <a:off x="6565899" y="2811436"/>
                <a:ext cx="433800" cy="172800"/>
              </p14:xfrm>
            </p:contentPart>
          </mc:Choice>
          <mc:Fallback xmlns="">
            <p:pic>
              <p:nvPicPr>
                <p:cNvPr id="540" name="Encre 539">
                  <a:extLst>
                    <a:ext uri="{FF2B5EF4-FFF2-40B4-BE49-F238E27FC236}">
                      <a16:creationId xmlns:a16="http://schemas.microsoft.com/office/drawing/2014/main" xmlns:p14="http://schemas.microsoft.com/office/powerpoint/2010/main" xmlns="" id="{AE7FD05E-A0EB-4DAC-972F-FD813B144018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6558355" y="2802381"/>
                  <a:ext cx="450398" cy="190155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541" name="Encre 540">
                  <a:extLst>
                    <a:ext uri="{FF2B5EF4-FFF2-40B4-BE49-F238E27FC236}">
                      <a16:creationId xmlns:a16="http://schemas.microsoft.com/office/drawing/2014/main" id="{565FEE94-D6E1-4CD6-A190-9813E9EC8EE3}"/>
                    </a:ext>
                  </a:extLst>
                </p14:cNvPr>
                <p14:cNvContentPartPr/>
                <p14:nvPr/>
              </p14:nvContentPartPr>
              <p14:xfrm>
                <a:off x="6504339" y="2718196"/>
                <a:ext cx="148680" cy="151200"/>
              </p14:xfrm>
            </p:contentPart>
          </mc:Choice>
          <mc:Fallback xmlns="">
            <p:pic>
              <p:nvPicPr>
                <p:cNvPr id="541" name="Encre 540">
                  <a:extLst>
                    <a:ext uri="{FF2B5EF4-FFF2-40B4-BE49-F238E27FC236}">
                      <a16:creationId xmlns:a16="http://schemas.microsoft.com/office/drawing/2014/main" xmlns:p14="http://schemas.microsoft.com/office/powerpoint/2010/main" xmlns="" id="{565FEE94-D6E1-4CD6-A190-9813E9EC8EE3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6496037" y="2712410"/>
                  <a:ext cx="165787" cy="165792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542" name="Encre 541">
                  <a:extLst>
                    <a:ext uri="{FF2B5EF4-FFF2-40B4-BE49-F238E27FC236}">
                      <a16:creationId xmlns:a16="http://schemas.microsoft.com/office/drawing/2014/main" id="{796BA7A8-BC25-4F8F-AD6E-3AE8734BE8D3}"/>
                    </a:ext>
                  </a:extLst>
                </p14:cNvPr>
                <p14:cNvContentPartPr/>
                <p14:nvPr/>
              </p14:nvContentPartPr>
              <p14:xfrm>
                <a:off x="6817179" y="2673556"/>
                <a:ext cx="104040" cy="141120"/>
              </p14:xfrm>
            </p:contentPart>
          </mc:Choice>
          <mc:Fallback xmlns="">
            <p:pic>
              <p:nvPicPr>
                <p:cNvPr id="542" name="Encre 541">
                  <a:extLst>
                    <a:ext uri="{FF2B5EF4-FFF2-40B4-BE49-F238E27FC236}">
                      <a16:creationId xmlns:a16="http://schemas.microsoft.com/office/drawing/2014/main" xmlns:p14="http://schemas.microsoft.com/office/powerpoint/2010/main" xmlns="" id="{796BA7A8-BC25-4F8F-AD6E-3AE8734BE8D3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6808383" y="2665255"/>
                  <a:ext cx="121129" cy="155961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549" name="Rectangle 596">
            <a:extLst>
              <a:ext uri="{FF2B5EF4-FFF2-40B4-BE49-F238E27FC236}">
                <a16:creationId xmlns:a16="http://schemas.microsoft.com/office/drawing/2014/main" id="{CB48AC1E-EF89-46B3-9C8B-179812C68F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53657" y="553055"/>
            <a:ext cx="144304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fr-FR" altLang="fr-FR" sz="800" b="1" dirty="0">
                <a:solidFill>
                  <a:srgbClr val="92D050"/>
                </a:solidFill>
                <a:latin typeface="Michelin Black" panose="02000000000000000000" pitchFamily="50" charset="0"/>
                <a:cs typeface="Aharoni" panose="02010803020104030203" pitchFamily="2" charset="-79"/>
              </a:rPr>
              <a:t>Architecture</a:t>
            </a:r>
          </a:p>
          <a:p>
            <a:pPr algn="ctr" eaLnBrk="1" hangingPunct="1"/>
            <a:r>
              <a:rPr lang="fr-FR" altLang="fr-FR" sz="800" b="1" dirty="0">
                <a:solidFill>
                  <a:srgbClr val="92D050"/>
                </a:solidFill>
                <a:latin typeface="Michelin Black" panose="02000000000000000000" pitchFamily="50" charset="0"/>
                <a:cs typeface="Aharoni" panose="02010803020104030203" pitchFamily="2" charset="-79"/>
              </a:rPr>
              <a:t>Community</a:t>
            </a:r>
          </a:p>
        </p:txBody>
      </p:sp>
      <p:sp>
        <p:nvSpPr>
          <p:cNvPr id="588" name="Ellipse 587">
            <a:extLst>
              <a:ext uri="{FF2B5EF4-FFF2-40B4-BE49-F238E27FC236}">
                <a16:creationId xmlns:a16="http://schemas.microsoft.com/office/drawing/2014/main" id="{FA41A5E4-EF63-42C6-BB03-2A0A74962442}"/>
              </a:ext>
            </a:extLst>
          </p:cNvPr>
          <p:cNvSpPr/>
          <p:nvPr/>
        </p:nvSpPr>
        <p:spPr>
          <a:xfrm>
            <a:off x="7847317" y="3919139"/>
            <a:ext cx="259119" cy="24459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K</a:t>
            </a:r>
            <a:r>
              <a:rPr lang="fr-FR" sz="9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it</a:t>
            </a:r>
            <a:endParaRPr lang="fr-FR" sz="1100" dirty="0">
              <a:solidFill>
                <a:schemeClr val="bg1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785" name="Ellipse 784">
            <a:extLst>
              <a:ext uri="{FF2B5EF4-FFF2-40B4-BE49-F238E27FC236}">
                <a16:creationId xmlns:a16="http://schemas.microsoft.com/office/drawing/2014/main" id="{8CFA559B-A94D-4F2F-9E37-33AA5AC5B80B}"/>
              </a:ext>
            </a:extLst>
          </p:cNvPr>
          <p:cNvSpPr/>
          <p:nvPr/>
        </p:nvSpPr>
        <p:spPr>
          <a:xfrm rot="20134518">
            <a:off x="4895049" y="1124257"/>
            <a:ext cx="1524273" cy="606979"/>
          </a:xfrm>
          <a:prstGeom prst="ellipse">
            <a:avLst/>
          </a:prstGeom>
          <a:solidFill>
            <a:schemeClr val="accent1">
              <a:lumMod val="40000"/>
              <a:lumOff val="60000"/>
              <a:alpha val="32000"/>
            </a:schemeClr>
          </a:solidFill>
          <a:ln w="19050">
            <a:solidFill>
              <a:schemeClr val="accent1">
                <a:alpha val="11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564" name="Ellipse 563">
            <a:extLst>
              <a:ext uri="{FF2B5EF4-FFF2-40B4-BE49-F238E27FC236}">
                <a16:creationId xmlns:a16="http://schemas.microsoft.com/office/drawing/2014/main" id="{96383AB7-AE22-4A7C-9A4B-BA1E11C0FFCA}"/>
              </a:ext>
            </a:extLst>
          </p:cNvPr>
          <p:cNvSpPr/>
          <p:nvPr/>
        </p:nvSpPr>
        <p:spPr>
          <a:xfrm>
            <a:off x="3647061" y="1762536"/>
            <a:ext cx="1652581" cy="1017563"/>
          </a:xfrm>
          <a:prstGeom prst="ellipse">
            <a:avLst/>
          </a:prstGeom>
          <a:solidFill>
            <a:srgbClr val="FFC000">
              <a:alpha val="69000"/>
            </a:srgbClr>
          </a:solidFill>
          <a:ln w="38100" cmpd="sng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1064" tIns="160532" rIns="321064" bIns="160532" anchor="ctr"/>
          <a:lstStyle/>
          <a:p>
            <a:pPr algn="ctr" defTabSz="4176431"/>
            <a:endParaRPr lang="fr-FR" sz="6000"/>
          </a:p>
        </p:txBody>
      </p:sp>
      <p:sp>
        <p:nvSpPr>
          <p:cNvPr id="456" name="Ellipse 455">
            <a:extLst>
              <a:ext uri="{FF2B5EF4-FFF2-40B4-BE49-F238E27FC236}">
                <a16:creationId xmlns:a16="http://schemas.microsoft.com/office/drawing/2014/main" id="{64E5D739-381C-455C-A750-7F58D6A0DB68}"/>
              </a:ext>
            </a:extLst>
          </p:cNvPr>
          <p:cNvSpPr/>
          <p:nvPr/>
        </p:nvSpPr>
        <p:spPr>
          <a:xfrm>
            <a:off x="2808395" y="1538235"/>
            <a:ext cx="1443659" cy="692797"/>
          </a:xfrm>
          <a:prstGeom prst="ellipse">
            <a:avLst/>
          </a:prstGeom>
          <a:solidFill>
            <a:srgbClr val="CCCC00">
              <a:alpha val="39000"/>
            </a:srgbClr>
          </a:solidFill>
          <a:ln w="19050" cmpd="dbl">
            <a:solidFill>
              <a:srgbClr val="CCCC00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455" name="Ellipse 454">
            <a:extLst>
              <a:ext uri="{FF2B5EF4-FFF2-40B4-BE49-F238E27FC236}">
                <a16:creationId xmlns:a16="http://schemas.microsoft.com/office/drawing/2014/main" id="{2532B7EC-EA7A-4578-9B7E-87F23DABB763}"/>
              </a:ext>
            </a:extLst>
          </p:cNvPr>
          <p:cNvSpPr/>
          <p:nvPr/>
        </p:nvSpPr>
        <p:spPr>
          <a:xfrm rot="1853421">
            <a:off x="2982514" y="1051648"/>
            <a:ext cx="1483035" cy="857934"/>
          </a:xfrm>
          <a:prstGeom prst="ellipse">
            <a:avLst/>
          </a:prstGeom>
          <a:solidFill>
            <a:srgbClr val="7030A0">
              <a:alpha val="39000"/>
            </a:srgbClr>
          </a:solidFill>
          <a:ln w="12700" cmpd="dbl">
            <a:solidFill>
              <a:schemeClr val="accent4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654" name="Ellipse 653">
            <a:extLst>
              <a:ext uri="{FF2B5EF4-FFF2-40B4-BE49-F238E27FC236}">
                <a16:creationId xmlns:a16="http://schemas.microsoft.com/office/drawing/2014/main" id="{36EB08ED-64C6-4FFD-B7C1-96D20E89A525}"/>
              </a:ext>
            </a:extLst>
          </p:cNvPr>
          <p:cNvSpPr/>
          <p:nvPr/>
        </p:nvSpPr>
        <p:spPr>
          <a:xfrm>
            <a:off x="5044209" y="1611358"/>
            <a:ext cx="1318864" cy="606979"/>
          </a:xfrm>
          <a:prstGeom prst="ellipse">
            <a:avLst/>
          </a:prstGeom>
          <a:solidFill>
            <a:srgbClr val="00B050">
              <a:alpha val="43000"/>
            </a:srgbClr>
          </a:solidFill>
          <a:ln w="19050" cmpd="dbl">
            <a:solidFill>
              <a:srgbClr val="00B050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652" name="Ellipse 651">
            <a:extLst>
              <a:ext uri="{FF2B5EF4-FFF2-40B4-BE49-F238E27FC236}">
                <a16:creationId xmlns:a16="http://schemas.microsoft.com/office/drawing/2014/main" id="{CD65ACCC-9297-4ED2-ADC2-BF11FA66F19C}"/>
              </a:ext>
            </a:extLst>
          </p:cNvPr>
          <p:cNvSpPr/>
          <p:nvPr/>
        </p:nvSpPr>
        <p:spPr>
          <a:xfrm rot="8143231">
            <a:off x="4546148" y="979887"/>
            <a:ext cx="1324997" cy="740592"/>
          </a:xfrm>
          <a:prstGeom prst="ellipse">
            <a:avLst/>
          </a:prstGeom>
          <a:solidFill>
            <a:schemeClr val="accent3">
              <a:alpha val="27000"/>
            </a:schemeClr>
          </a:solidFill>
          <a:ln w="19050" cmpd="dbl">
            <a:solidFill>
              <a:schemeClr val="accent3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255" name="ZoneTexte 254">
            <a:extLst>
              <a:ext uri="{FF2B5EF4-FFF2-40B4-BE49-F238E27FC236}">
                <a16:creationId xmlns:a16="http://schemas.microsoft.com/office/drawing/2014/main" id="{6DD1D23C-9DB8-4C78-9547-200806B3C70D}"/>
              </a:ext>
            </a:extLst>
          </p:cNvPr>
          <p:cNvSpPr txBox="1"/>
          <p:nvPr/>
        </p:nvSpPr>
        <p:spPr>
          <a:xfrm>
            <a:off x="5878077" y="1239073"/>
            <a:ext cx="369550" cy="1558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  <a:latin typeface="Michelin SemiBold" panose="02000000000000000000" pitchFamily="50" charset="0"/>
              </a:rPr>
              <a:t>SECU</a:t>
            </a:r>
          </a:p>
        </p:txBody>
      </p:sp>
      <p:grpSp>
        <p:nvGrpSpPr>
          <p:cNvPr id="266" name="Groupe 1415">
            <a:extLst>
              <a:ext uri="{FF2B5EF4-FFF2-40B4-BE49-F238E27FC236}">
                <a16:creationId xmlns:a16="http://schemas.microsoft.com/office/drawing/2014/main" id="{417F0C29-EC89-4220-B0FB-C3CFCF0C864E}"/>
              </a:ext>
            </a:extLst>
          </p:cNvPr>
          <p:cNvGrpSpPr>
            <a:grpSpLocks/>
          </p:cNvGrpSpPr>
          <p:nvPr/>
        </p:nvGrpSpPr>
        <p:grpSpPr bwMode="auto">
          <a:xfrm>
            <a:off x="4266590" y="2579767"/>
            <a:ext cx="434101" cy="379461"/>
            <a:chOff x="2335613" y="3820290"/>
            <a:chExt cx="653238" cy="560864"/>
          </a:xfrm>
        </p:grpSpPr>
        <p:sp>
          <p:nvSpPr>
            <p:cNvPr id="267" name="Ellipse 266">
              <a:extLst>
                <a:ext uri="{FF2B5EF4-FFF2-40B4-BE49-F238E27FC236}">
                  <a16:creationId xmlns:a16="http://schemas.microsoft.com/office/drawing/2014/main" id="{D5FDD16A-FEFE-48AB-9714-CBD5DE53B11B}"/>
                </a:ext>
              </a:extLst>
            </p:cNvPr>
            <p:cNvSpPr/>
            <p:nvPr/>
          </p:nvSpPr>
          <p:spPr bwMode="auto">
            <a:xfrm>
              <a:off x="2335613" y="3917291"/>
              <a:ext cx="653238" cy="463863"/>
            </a:xfrm>
            <a:prstGeom prst="ellipse">
              <a:avLst/>
            </a:prstGeom>
            <a:solidFill>
              <a:srgbClr val="FFC000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57150" prstMaterial="matte"/>
          </p:spPr>
          <p:txBody>
            <a:bodyPr lIns="0" tIns="0" rIns="0" bIns="0" anchor="ctr"/>
            <a:lstStyle/>
            <a:p>
              <a:pPr algn="ctr" defTabSz="3210641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54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268" name="_effect" descr="C:\Users\marc.h\Desktop\Schatten-TEST.png">
              <a:extLst>
                <a:ext uri="{FF2B5EF4-FFF2-40B4-BE49-F238E27FC236}">
                  <a16:creationId xmlns:a16="http://schemas.microsoft.com/office/drawing/2014/main" id="{7B7C3C0F-5051-4768-A8AD-854F0462E46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441644" y="4131620"/>
              <a:ext cx="441180" cy="66490"/>
            </a:xfrm>
            <a:prstGeom prst="rect">
              <a:avLst/>
            </a:prstGeom>
            <a:solidFill>
              <a:srgbClr val="FFC000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269" name="Gruppieren 96">
              <a:extLst>
                <a:ext uri="{FF2B5EF4-FFF2-40B4-BE49-F238E27FC236}">
                  <a16:creationId xmlns:a16="http://schemas.microsoft.com/office/drawing/2014/main" id="{07005EE6-6E03-43F7-969B-081E983E0D1E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308" name="Freeform 156">
                <a:extLst>
                  <a:ext uri="{FF2B5EF4-FFF2-40B4-BE49-F238E27FC236}">
                    <a16:creationId xmlns:a16="http://schemas.microsoft.com/office/drawing/2014/main" id="{66A22BC7-3D77-4CAA-8E6E-B5047FEEF1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09" name="Freeform 159">
                <a:extLst>
                  <a:ext uri="{FF2B5EF4-FFF2-40B4-BE49-F238E27FC236}">
                    <a16:creationId xmlns:a16="http://schemas.microsoft.com/office/drawing/2014/main" id="{3AF97039-6138-44DF-BF2C-555F8F3815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10" name="Freeform 160">
                <a:extLst>
                  <a:ext uri="{FF2B5EF4-FFF2-40B4-BE49-F238E27FC236}">
                    <a16:creationId xmlns:a16="http://schemas.microsoft.com/office/drawing/2014/main" id="{F58CAAC0-9737-4A3B-BBA7-FC43049D81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11" name="Freeform 179">
                <a:extLst>
                  <a:ext uri="{FF2B5EF4-FFF2-40B4-BE49-F238E27FC236}">
                    <a16:creationId xmlns:a16="http://schemas.microsoft.com/office/drawing/2014/main" id="{3925D1F5-2143-45BF-B0D0-FD728D9F8C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12" name="Freeform 180">
                <a:extLst>
                  <a:ext uri="{FF2B5EF4-FFF2-40B4-BE49-F238E27FC236}">
                    <a16:creationId xmlns:a16="http://schemas.microsoft.com/office/drawing/2014/main" id="{F28174CC-D425-4C76-A8F5-5D5E2A275B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13" name="Freeform 181">
                <a:extLst>
                  <a:ext uri="{FF2B5EF4-FFF2-40B4-BE49-F238E27FC236}">
                    <a16:creationId xmlns:a16="http://schemas.microsoft.com/office/drawing/2014/main" id="{49116BD6-2B3D-46E1-935C-02E3C3D5E9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14" name="Freeform 182">
                <a:extLst>
                  <a:ext uri="{FF2B5EF4-FFF2-40B4-BE49-F238E27FC236}">
                    <a16:creationId xmlns:a16="http://schemas.microsoft.com/office/drawing/2014/main" id="{B21729EC-AAB6-41F7-BE58-56B31D9C16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15" name="Freeform 183">
                <a:extLst>
                  <a:ext uri="{FF2B5EF4-FFF2-40B4-BE49-F238E27FC236}">
                    <a16:creationId xmlns:a16="http://schemas.microsoft.com/office/drawing/2014/main" id="{AC6DF59A-BA23-4648-A120-52F47891A2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16" name="Freeform 184">
                <a:extLst>
                  <a:ext uri="{FF2B5EF4-FFF2-40B4-BE49-F238E27FC236}">
                    <a16:creationId xmlns:a16="http://schemas.microsoft.com/office/drawing/2014/main" id="{4D7F1FDB-C152-4127-BD0B-3905466EBB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17" name="Freeform 185">
                <a:extLst>
                  <a:ext uri="{FF2B5EF4-FFF2-40B4-BE49-F238E27FC236}">
                    <a16:creationId xmlns:a16="http://schemas.microsoft.com/office/drawing/2014/main" id="{68BA9268-8D4C-416C-93C6-32A0FC280E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18" name="Freeform 186">
                <a:extLst>
                  <a:ext uri="{FF2B5EF4-FFF2-40B4-BE49-F238E27FC236}">
                    <a16:creationId xmlns:a16="http://schemas.microsoft.com/office/drawing/2014/main" id="{7B9E3CBA-12DA-4EC1-8405-458A560D92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19" name="Freeform 187">
                <a:extLst>
                  <a:ext uri="{FF2B5EF4-FFF2-40B4-BE49-F238E27FC236}">
                    <a16:creationId xmlns:a16="http://schemas.microsoft.com/office/drawing/2014/main" id="{8319D113-7BEA-4ABA-9018-C5215CFA9A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20" name="Freeform 157">
                <a:extLst>
                  <a:ext uri="{FF2B5EF4-FFF2-40B4-BE49-F238E27FC236}">
                    <a16:creationId xmlns:a16="http://schemas.microsoft.com/office/drawing/2014/main" id="{0E37F069-9F09-4102-BC7E-A206136481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21" name="Freeform 158">
                <a:extLst>
                  <a:ext uri="{FF2B5EF4-FFF2-40B4-BE49-F238E27FC236}">
                    <a16:creationId xmlns:a16="http://schemas.microsoft.com/office/drawing/2014/main" id="{06126241-A7FB-47D9-A69C-D512F20A1F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22" name="Freeform 161">
                <a:extLst>
                  <a:ext uri="{FF2B5EF4-FFF2-40B4-BE49-F238E27FC236}">
                    <a16:creationId xmlns:a16="http://schemas.microsoft.com/office/drawing/2014/main" id="{B6C730F3-B10A-4452-873C-2AFD857EEE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23" name="Freeform 162">
                <a:extLst>
                  <a:ext uri="{FF2B5EF4-FFF2-40B4-BE49-F238E27FC236}">
                    <a16:creationId xmlns:a16="http://schemas.microsoft.com/office/drawing/2014/main" id="{916C4A94-FA0B-433A-89AB-6F21FECE12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24" name="Freeform 163">
                <a:extLst>
                  <a:ext uri="{FF2B5EF4-FFF2-40B4-BE49-F238E27FC236}">
                    <a16:creationId xmlns:a16="http://schemas.microsoft.com/office/drawing/2014/main" id="{1F91216A-3FB6-40A4-83B3-5537819CB5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25" name="Freeform 164">
                <a:extLst>
                  <a:ext uri="{FF2B5EF4-FFF2-40B4-BE49-F238E27FC236}">
                    <a16:creationId xmlns:a16="http://schemas.microsoft.com/office/drawing/2014/main" id="{2C4FE7E8-A111-434F-9F11-A80C6DC9B4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26" name="Freeform 165">
                <a:extLst>
                  <a:ext uri="{FF2B5EF4-FFF2-40B4-BE49-F238E27FC236}">
                    <a16:creationId xmlns:a16="http://schemas.microsoft.com/office/drawing/2014/main" id="{0A037376-9738-4391-9D1F-4BD2BEA582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27" name="Freeform 166">
                <a:extLst>
                  <a:ext uri="{FF2B5EF4-FFF2-40B4-BE49-F238E27FC236}">
                    <a16:creationId xmlns:a16="http://schemas.microsoft.com/office/drawing/2014/main" id="{633DB8EE-700A-479A-817C-ADA89A6853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28" name="Freeform 167">
                <a:extLst>
                  <a:ext uri="{FF2B5EF4-FFF2-40B4-BE49-F238E27FC236}">
                    <a16:creationId xmlns:a16="http://schemas.microsoft.com/office/drawing/2014/main" id="{DEC645B9-9E4B-4B4C-A230-F88E05D212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29" name="Freeform 168">
                <a:extLst>
                  <a:ext uri="{FF2B5EF4-FFF2-40B4-BE49-F238E27FC236}">
                    <a16:creationId xmlns:a16="http://schemas.microsoft.com/office/drawing/2014/main" id="{C569BF19-E10D-4FA4-BD72-3323A8A3B6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30" name="Freeform 169">
                <a:extLst>
                  <a:ext uri="{FF2B5EF4-FFF2-40B4-BE49-F238E27FC236}">
                    <a16:creationId xmlns:a16="http://schemas.microsoft.com/office/drawing/2014/main" id="{252091F3-2DA7-44E0-8DD8-7DC7CB983C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31" name="Freeform 170">
                <a:extLst>
                  <a:ext uri="{FF2B5EF4-FFF2-40B4-BE49-F238E27FC236}">
                    <a16:creationId xmlns:a16="http://schemas.microsoft.com/office/drawing/2014/main" id="{2214F4F5-3D38-4117-BCF1-60AA74D4C1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32" name="Freeform 171">
                <a:extLst>
                  <a:ext uri="{FF2B5EF4-FFF2-40B4-BE49-F238E27FC236}">
                    <a16:creationId xmlns:a16="http://schemas.microsoft.com/office/drawing/2014/main" id="{4C7DBF06-79A2-4415-A0DB-90D3FE3C94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33" name="Freeform 172">
                <a:extLst>
                  <a:ext uri="{FF2B5EF4-FFF2-40B4-BE49-F238E27FC236}">
                    <a16:creationId xmlns:a16="http://schemas.microsoft.com/office/drawing/2014/main" id="{61197511-1999-4FCC-BB67-6A25D46027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34" name="Freeform 173">
                <a:extLst>
                  <a:ext uri="{FF2B5EF4-FFF2-40B4-BE49-F238E27FC236}">
                    <a16:creationId xmlns:a16="http://schemas.microsoft.com/office/drawing/2014/main" id="{C86F99E4-4282-4B6B-B64E-9DA1619422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35" name="Freeform 174">
                <a:extLst>
                  <a:ext uri="{FF2B5EF4-FFF2-40B4-BE49-F238E27FC236}">
                    <a16:creationId xmlns:a16="http://schemas.microsoft.com/office/drawing/2014/main" id="{8D09129D-5D98-40BC-95D6-1DB6CDDFB0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36" name="Freeform 175">
                <a:extLst>
                  <a:ext uri="{FF2B5EF4-FFF2-40B4-BE49-F238E27FC236}">
                    <a16:creationId xmlns:a16="http://schemas.microsoft.com/office/drawing/2014/main" id="{7E87508F-1277-48B5-9A41-5180189CDC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37" name="Freeform 176">
                <a:extLst>
                  <a:ext uri="{FF2B5EF4-FFF2-40B4-BE49-F238E27FC236}">
                    <a16:creationId xmlns:a16="http://schemas.microsoft.com/office/drawing/2014/main" id="{95C58F95-17E2-42B1-8868-2F6A117E22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38" name="Freeform 177">
                <a:extLst>
                  <a:ext uri="{FF2B5EF4-FFF2-40B4-BE49-F238E27FC236}">
                    <a16:creationId xmlns:a16="http://schemas.microsoft.com/office/drawing/2014/main" id="{A542EFE6-1A20-4AE3-A630-60AE18AFFD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39" name="Freeform 178">
                <a:extLst>
                  <a:ext uri="{FF2B5EF4-FFF2-40B4-BE49-F238E27FC236}">
                    <a16:creationId xmlns:a16="http://schemas.microsoft.com/office/drawing/2014/main" id="{33409628-C7B9-49CA-816E-46E74A6EFD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40" name="Freeform 188">
                <a:extLst>
                  <a:ext uri="{FF2B5EF4-FFF2-40B4-BE49-F238E27FC236}">
                    <a16:creationId xmlns:a16="http://schemas.microsoft.com/office/drawing/2014/main" id="{0626A35A-52E1-47E5-96FC-40600982B7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41" name="Freeform 103">
                <a:extLst>
                  <a:ext uri="{FF2B5EF4-FFF2-40B4-BE49-F238E27FC236}">
                    <a16:creationId xmlns:a16="http://schemas.microsoft.com/office/drawing/2014/main" id="{6F0BCABC-6770-41F0-B53D-1FBAE7012C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42" name="Freeform 104">
                <a:extLst>
                  <a:ext uri="{FF2B5EF4-FFF2-40B4-BE49-F238E27FC236}">
                    <a16:creationId xmlns:a16="http://schemas.microsoft.com/office/drawing/2014/main" id="{1279FA50-DF87-464D-8951-961D5DFAA8AE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270" name="AutoShape 25">
              <a:extLst>
                <a:ext uri="{FF2B5EF4-FFF2-40B4-BE49-F238E27FC236}">
                  <a16:creationId xmlns:a16="http://schemas.microsoft.com/office/drawing/2014/main" id="{D743442D-7E6E-4547-B1FD-9FFBE79295B6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923" y="3836717"/>
              <a:ext cx="158435" cy="327366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1" name="AutoShape 22">
              <a:extLst>
                <a:ext uri="{FF2B5EF4-FFF2-40B4-BE49-F238E27FC236}">
                  <a16:creationId xmlns:a16="http://schemas.microsoft.com/office/drawing/2014/main" id="{052F466F-6C1F-4714-9608-D5CD9F19537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734" y="3820290"/>
              <a:ext cx="139748" cy="340273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272" name="Gruppieren 281">
              <a:extLst>
                <a:ext uri="{FF2B5EF4-FFF2-40B4-BE49-F238E27FC236}">
                  <a16:creationId xmlns:a16="http://schemas.microsoft.com/office/drawing/2014/main" id="{01F6AA2D-FF97-403D-BE6C-1DF3078B1086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273" name="Freeform 156">
                <a:extLst>
                  <a:ext uri="{FF2B5EF4-FFF2-40B4-BE49-F238E27FC236}">
                    <a16:creationId xmlns:a16="http://schemas.microsoft.com/office/drawing/2014/main" id="{BC169307-42E3-49DF-BD27-93FE6E8D06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74" name="Freeform 159">
                <a:extLst>
                  <a:ext uri="{FF2B5EF4-FFF2-40B4-BE49-F238E27FC236}">
                    <a16:creationId xmlns:a16="http://schemas.microsoft.com/office/drawing/2014/main" id="{873EB0FC-E982-4345-A527-5839BE96C1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75" name="Freeform 160">
                <a:extLst>
                  <a:ext uri="{FF2B5EF4-FFF2-40B4-BE49-F238E27FC236}">
                    <a16:creationId xmlns:a16="http://schemas.microsoft.com/office/drawing/2014/main" id="{18F335F7-FBA8-415E-8C87-B2671E80E4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76" name="Freeform 179">
                <a:extLst>
                  <a:ext uri="{FF2B5EF4-FFF2-40B4-BE49-F238E27FC236}">
                    <a16:creationId xmlns:a16="http://schemas.microsoft.com/office/drawing/2014/main" id="{B0B98F62-EE2F-4FA9-B9B6-029ABAD55D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77" name="Freeform 180">
                <a:extLst>
                  <a:ext uri="{FF2B5EF4-FFF2-40B4-BE49-F238E27FC236}">
                    <a16:creationId xmlns:a16="http://schemas.microsoft.com/office/drawing/2014/main" id="{5DDB8D26-B0F9-48B4-A83F-F03E6993CC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78" name="Freeform 181">
                <a:extLst>
                  <a:ext uri="{FF2B5EF4-FFF2-40B4-BE49-F238E27FC236}">
                    <a16:creationId xmlns:a16="http://schemas.microsoft.com/office/drawing/2014/main" id="{1A2A4E7C-227E-480E-9451-270CB2871C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79" name="Freeform 182">
                <a:extLst>
                  <a:ext uri="{FF2B5EF4-FFF2-40B4-BE49-F238E27FC236}">
                    <a16:creationId xmlns:a16="http://schemas.microsoft.com/office/drawing/2014/main" id="{8B2E6FD9-926E-4416-96F6-B3701B5795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80" name="Freeform 183">
                <a:extLst>
                  <a:ext uri="{FF2B5EF4-FFF2-40B4-BE49-F238E27FC236}">
                    <a16:creationId xmlns:a16="http://schemas.microsoft.com/office/drawing/2014/main" id="{EAD569E9-5767-4264-BBC8-3185109588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81" name="Freeform 184">
                <a:extLst>
                  <a:ext uri="{FF2B5EF4-FFF2-40B4-BE49-F238E27FC236}">
                    <a16:creationId xmlns:a16="http://schemas.microsoft.com/office/drawing/2014/main" id="{2C775F5F-26D1-4BC8-86E1-715F640AAA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82" name="Freeform 185">
                <a:extLst>
                  <a:ext uri="{FF2B5EF4-FFF2-40B4-BE49-F238E27FC236}">
                    <a16:creationId xmlns:a16="http://schemas.microsoft.com/office/drawing/2014/main" id="{F9ACE1A7-D3B2-40AB-84ED-1D724D1B12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83" name="Freeform 186">
                <a:extLst>
                  <a:ext uri="{FF2B5EF4-FFF2-40B4-BE49-F238E27FC236}">
                    <a16:creationId xmlns:a16="http://schemas.microsoft.com/office/drawing/2014/main" id="{32B49596-498F-40C3-AF4C-33715D6137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84" name="Freeform 187">
                <a:extLst>
                  <a:ext uri="{FF2B5EF4-FFF2-40B4-BE49-F238E27FC236}">
                    <a16:creationId xmlns:a16="http://schemas.microsoft.com/office/drawing/2014/main" id="{47450CEA-7359-4AFA-B706-D08FB1CCA6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85" name="Freeform 157">
                <a:extLst>
                  <a:ext uri="{FF2B5EF4-FFF2-40B4-BE49-F238E27FC236}">
                    <a16:creationId xmlns:a16="http://schemas.microsoft.com/office/drawing/2014/main" id="{BEBE0DAF-3B29-49F2-8932-2A5C97EAD2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86" name="Freeform 158">
                <a:extLst>
                  <a:ext uri="{FF2B5EF4-FFF2-40B4-BE49-F238E27FC236}">
                    <a16:creationId xmlns:a16="http://schemas.microsoft.com/office/drawing/2014/main" id="{8F5CA095-DC10-4891-8973-5831BD1BFD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87" name="Freeform 161">
                <a:extLst>
                  <a:ext uri="{FF2B5EF4-FFF2-40B4-BE49-F238E27FC236}">
                    <a16:creationId xmlns:a16="http://schemas.microsoft.com/office/drawing/2014/main" id="{29E0C361-C2B3-4CBF-BB4D-9E2B60F333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88" name="Freeform 162">
                <a:extLst>
                  <a:ext uri="{FF2B5EF4-FFF2-40B4-BE49-F238E27FC236}">
                    <a16:creationId xmlns:a16="http://schemas.microsoft.com/office/drawing/2014/main" id="{80366CD9-A90B-4388-A109-814A87A89A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89" name="Freeform 163">
                <a:extLst>
                  <a:ext uri="{FF2B5EF4-FFF2-40B4-BE49-F238E27FC236}">
                    <a16:creationId xmlns:a16="http://schemas.microsoft.com/office/drawing/2014/main" id="{3CC0AECD-0A20-4D44-967D-46F09A418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90" name="Freeform 164">
                <a:extLst>
                  <a:ext uri="{FF2B5EF4-FFF2-40B4-BE49-F238E27FC236}">
                    <a16:creationId xmlns:a16="http://schemas.microsoft.com/office/drawing/2014/main" id="{9CB340CF-6E10-416C-AF96-AADAC7B3B7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91" name="Freeform 165">
                <a:extLst>
                  <a:ext uri="{FF2B5EF4-FFF2-40B4-BE49-F238E27FC236}">
                    <a16:creationId xmlns:a16="http://schemas.microsoft.com/office/drawing/2014/main" id="{BBBD671E-6245-4910-ABC8-2BE71D84BD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92" name="Freeform 166">
                <a:extLst>
                  <a:ext uri="{FF2B5EF4-FFF2-40B4-BE49-F238E27FC236}">
                    <a16:creationId xmlns:a16="http://schemas.microsoft.com/office/drawing/2014/main" id="{67E37643-4D67-4BFA-AF1D-9E0BAD7FD9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93" name="Freeform 167">
                <a:extLst>
                  <a:ext uri="{FF2B5EF4-FFF2-40B4-BE49-F238E27FC236}">
                    <a16:creationId xmlns:a16="http://schemas.microsoft.com/office/drawing/2014/main" id="{CC122128-1098-4BD9-8DC6-CC4802228E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94" name="Freeform 168">
                <a:extLst>
                  <a:ext uri="{FF2B5EF4-FFF2-40B4-BE49-F238E27FC236}">
                    <a16:creationId xmlns:a16="http://schemas.microsoft.com/office/drawing/2014/main" id="{2C330E87-5D2E-4F2F-AA51-6CDEBA6746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95" name="Freeform 169">
                <a:extLst>
                  <a:ext uri="{FF2B5EF4-FFF2-40B4-BE49-F238E27FC236}">
                    <a16:creationId xmlns:a16="http://schemas.microsoft.com/office/drawing/2014/main" id="{1CD7E057-88A1-432A-AAFA-A8806828F7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96" name="Freeform 170">
                <a:extLst>
                  <a:ext uri="{FF2B5EF4-FFF2-40B4-BE49-F238E27FC236}">
                    <a16:creationId xmlns:a16="http://schemas.microsoft.com/office/drawing/2014/main" id="{B3A296E0-62AC-4380-BE94-545EDF861E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97" name="Freeform 171">
                <a:extLst>
                  <a:ext uri="{FF2B5EF4-FFF2-40B4-BE49-F238E27FC236}">
                    <a16:creationId xmlns:a16="http://schemas.microsoft.com/office/drawing/2014/main" id="{7A87BDA0-5478-41F9-B1F0-276277AD56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98" name="Freeform 172">
                <a:extLst>
                  <a:ext uri="{FF2B5EF4-FFF2-40B4-BE49-F238E27FC236}">
                    <a16:creationId xmlns:a16="http://schemas.microsoft.com/office/drawing/2014/main" id="{3A1EEF8C-D457-4A7E-9BE2-8FB80B4FFF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99" name="Freeform 173">
                <a:extLst>
                  <a:ext uri="{FF2B5EF4-FFF2-40B4-BE49-F238E27FC236}">
                    <a16:creationId xmlns:a16="http://schemas.microsoft.com/office/drawing/2014/main" id="{073ADCD7-3D67-471C-A219-9D22CC1487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00" name="Freeform 174">
                <a:extLst>
                  <a:ext uri="{FF2B5EF4-FFF2-40B4-BE49-F238E27FC236}">
                    <a16:creationId xmlns:a16="http://schemas.microsoft.com/office/drawing/2014/main" id="{D928603C-9A0C-46EB-8B49-CD474EF2EF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01" name="Freeform 175">
                <a:extLst>
                  <a:ext uri="{FF2B5EF4-FFF2-40B4-BE49-F238E27FC236}">
                    <a16:creationId xmlns:a16="http://schemas.microsoft.com/office/drawing/2014/main" id="{84F29B8C-0620-48F8-8575-73FDC208FD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02" name="Freeform 176">
                <a:extLst>
                  <a:ext uri="{FF2B5EF4-FFF2-40B4-BE49-F238E27FC236}">
                    <a16:creationId xmlns:a16="http://schemas.microsoft.com/office/drawing/2014/main" id="{7C602D23-49E1-4205-9308-52432A0274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03" name="Freeform 177">
                <a:extLst>
                  <a:ext uri="{FF2B5EF4-FFF2-40B4-BE49-F238E27FC236}">
                    <a16:creationId xmlns:a16="http://schemas.microsoft.com/office/drawing/2014/main" id="{FCD94B4F-418A-4DA3-A616-9F56BB9228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04" name="Freeform 178">
                <a:extLst>
                  <a:ext uri="{FF2B5EF4-FFF2-40B4-BE49-F238E27FC236}">
                    <a16:creationId xmlns:a16="http://schemas.microsoft.com/office/drawing/2014/main" id="{05E13623-6B89-4A3E-ACA2-188CEA9BE9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05" name="Freeform 188">
                <a:extLst>
                  <a:ext uri="{FF2B5EF4-FFF2-40B4-BE49-F238E27FC236}">
                    <a16:creationId xmlns:a16="http://schemas.microsoft.com/office/drawing/2014/main" id="{FCD06A74-7698-4BB4-9B4F-85AAC7A448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06" name="Freeform 103">
                <a:extLst>
                  <a:ext uri="{FF2B5EF4-FFF2-40B4-BE49-F238E27FC236}">
                    <a16:creationId xmlns:a16="http://schemas.microsoft.com/office/drawing/2014/main" id="{604E7B8D-7800-4CF7-B728-0926072BB0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07" name="Freeform 104">
                <a:extLst>
                  <a:ext uri="{FF2B5EF4-FFF2-40B4-BE49-F238E27FC236}">
                    <a16:creationId xmlns:a16="http://schemas.microsoft.com/office/drawing/2014/main" id="{FE4BC21E-8B97-4453-9A41-F9F177CA9250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cxnSp>
        <p:nvCxnSpPr>
          <p:cNvPr id="346" name="Connecteur droit 345">
            <a:extLst>
              <a:ext uri="{FF2B5EF4-FFF2-40B4-BE49-F238E27FC236}">
                <a16:creationId xmlns:a16="http://schemas.microsoft.com/office/drawing/2014/main" id="{0DDCEF7E-ACFE-47F5-9B33-FA7CB4F36881}"/>
              </a:ext>
            </a:extLst>
          </p:cNvPr>
          <p:cNvCxnSpPr>
            <a:cxnSpLocks/>
            <a:endCxn id="656" idx="1"/>
          </p:cNvCxnSpPr>
          <p:nvPr/>
        </p:nvCxnSpPr>
        <p:spPr>
          <a:xfrm flipV="1">
            <a:off x="5108486" y="1143230"/>
            <a:ext cx="636286" cy="496223"/>
          </a:xfrm>
          <a:prstGeom prst="line">
            <a:avLst/>
          </a:prstGeom>
          <a:ln>
            <a:solidFill>
              <a:schemeClr val="tx2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7" name="Connecteur droit 346">
            <a:extLst>
              <a:ext uri="{FF2B5EF4-FFF2-40B4-BE49-F238E27FC236}">
                <a16:creationId xmlns:a16="http://schemas.microsoft.com/office/drawing/2014/main" id="{EB3BE49F-0FF6-4B0C-A769-8060AFA4EABF}"/>
              </a:ext>
            </a:extLst>
          </p:cNvPr>
          <p:cNvCxnSpPr>
            <a:cxnSpLocks/>
            <a:stCxn id="737" idx="1"/>
          </p:cNvCxnSpPr>
          <p:nvPr/>
        </p:nvCxnSpPr>
        <p:spPr>
          <a:xfrm flipH="1">
            <a:off x="5210070" y="1493136"/>
            <a:ext cx="534042" cy="270465"/>
          </a:xfrm>
          <a:prstGeom prst="line">
            <a:avLst/>
          </a:prstGeom>
          <a:ln>
            <a:solidFill>
              <a:schemeClr val="tx2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0" name="Connecteur droit 349">
            <a:extLst>
              <a:ext uri="{FF2B5EF4-FFF2-40B4-BE49-F238E27FC236}">
                <a16:creationId xmlns:a16="http://schemas.microsoft.com/office/drawing/2014/main" id="{C427D0E6-A5CE-47AE-90BC-845F671CBF2E}"/>
              </a:ext>
            </a:extLst>
          </p:cNvPr>
          <p:cNvCxnSpPr>
            <a:cxnSpLocks/>
            <a:stCxn id="746" idx="3"/>
            <a:endCxn id="15" idx="3"/>
          </p:cNvCxnSpPr>
          <p:nvPr/>
        </p:nvCxnSpPr>
        <p:spPr>
          <a:xfrm flipH="1">
            <a:off x="5138564" y="1870803"/>
            <a:ext cx="1021300" cy="13277"/>
          </a:xfrm>
          <a:prstGeom prst="line">
            <a:avLst/>
          </a:prstGeom>
          <a:ln>
            <a:solidFill>
              <a:srgbClr val="00B050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56" name="Image 1601">
            <a:extLst>
              <a:ext uri="{FF2B5EF4-FFF2-40B4-BE49-F238E27FC236}">
                <a16:creationId xmlns:a16="http://schemas.microsoft.com/office/drawing/2014/main" id="{9EC5C281-0D56-4D65-AC19-73A2B6C434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44772" y="1059485"/>
            <a:ext cx="171247" cy="167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57" name="Groupe 1415">
            <a:extLst>
              <a:ext uri="{FF2B5EF4-FFF2-40B4-BE49-F238E27FC236}">
                <a16:creationId xmlns:a16="http://schemas.microsoft.com/office/drawing/2014/main" id="{C01125F4-DD84-495F-94EE-96B922D4B635}"/>
              </a:ext>
            </a:extLst>
          </p:cNvPr>
          <p:cNvGrpSpPr>
            <a:grpSpLocks/>
          </p:cNvGrpSpPr>
          <p:nvPr/>
        </p:nvGrpSpPr>
        <p:grpSpPr bwMode="auto">
          <a:xfrm>
            <a:off x="5487933" y="630497"/>
            <a:ext cx="370735" cy="369808"/>
            <a:chOff x="2335613" y="3820290"/>
            <a:chExt cx="653238" cy="560864"/>
          </a:xfrm>
        </p:grpSpPr>
        <p:sp>
          <p:nvSpPr>
            <p:cNvPr id="658" name="Ellipse 657">
              <a:extLst>
                <a:ext uri="{FF2B5EF4-FFF2-40B4-BE49-F238E27FC236}">
                  <a16:creationId xmlns:a16="http://schemas.microsoft.com/office/drawing/2014/main" id="{9865C471-E409-42FC-837D-EAA1A84998A7}"/>
                </a:ext>
              </a:extLst>
            </p:cNvPr>
            <p:cNvSpPr/>
            <p:nvPr/>
          </p:nvSpPr>
          <p:spPr bwMode="auto">
            <a:xfrm>
              <a:off x="2335613" y="3917291"/>
              <a:ext cx="653238" cy="463863"/>
            </a:xfrm>
            <a:prstGeom prst="ellipse">
              <a:avLst/>
            </a:prstGeom>
            <a:solidFill>
              <a:schemeClr val="accent3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57150" prstMaterial="matte"/>
          </p:spPr>
          <p:txBody>
            <a:bodyPr lIns="0" tIns="0" rIns="0" bIns="0" anchor="ctr"/>
            <a:lstStyle/>
            <a:p>
              <a:pPr algn="ctr" defTabSz="3210641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54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659" name="_effect" descr="C:\Users\marc.h\Desktop\Schatten-TEST.png">
              <a:extLst>
                <a:ext uri="{FF2B5EF4-FFF2-40B4-BE49-F238E27FC236}">
                  <a16:creationId xmlns:a16="http://schemas.microsoft.com/office/drawing/2014/main" id="{6B00B685-AA27-4E16-99C6-7EB3741247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441644" y="4131620"/>
              <a:ext cx="441180" cy="66490"/>
            </a:xfrm>
            <a:prstGeom prst="rect">
              <a:avLst/>
            </a:prstGeom>
            <a:solidFill>
              <a:schemeClr val="accent3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660" name="Gruppieren 96">
              <a:extLst>
                <a:ext uri="{FF2B5EF4-FFF2-40B4-BE49-F238E27FC236}">
                  <a16:creationId xmlns:a16="http://schemas.microsoft.com/office/drawing/2014/main" id="{42D86377-9F53-4A2F-826A-37A47AC2EF42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699" name="Freeform 156">
                <a:extLst>
                  <a:ext uri="{FF2B5EF4-FFF2-40B4-BE49-F238E27FC236}">
                    <a16:creationId xmlns:a16="http://schemas.microsoft.com/office/drawing/2014/main" id="{2FB29BE4-2785-4FD3-9A5D-116AB4EE11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0" name="Freeform 159">
                <a:extLst>
                  <a:ext uri="{FF2B5EF4-FFF2-40B4-BE49-F238E27FC236}">
                    <a16:creationId xmlns:a16="http://schemas.microsoft.com/office/drawing/2014/main" id="{0E3029C2-68D2-45C6-9292-9C4C05CCEA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1" name="Freeform 160">
                <a:extLst>
                  <a:ext uri="{FF2B5EF4-FFF2-40B4-BE49-F238E27FC236}">
                    <a16:creationId xmlns:a16="http://schemas.microsoft.com/office/drawing/2014/main" id="{EDFF2569-ED68-44F2-994B-4F1D503F60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2" name="Freeform 179">
                <a:extLst>
                  <a:ext uri="{FF2B5EF4-FFF2-40B4-BE49-F238E27FC236}">
                    <a16:creationId xmlns:a16="http://schemas.microsoft.com/office/drawing/2014/main" id="{DE9D7D0E-4BB5-470E-AE74-FBEFECC03D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3" name="Freeform 180">
                <a:extLst>
                  <a:ext uri="{FF2B5EF4-FFF2-40B4-BE49-F238E27FC236}">
                    <a16:creationId xmlns:a16="http://schemas.microsoft.com/office/drawing/2014/main" id="{85DB2D1E-2004-4453-BDEF-2AB83F3C44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4" name="Freeform 181">
                <a:extLst>
                  <a:ext uri="{FF2B5EF4-FFF2-40B4-BE49-F238E27FC236}">
                    <a16:creationId xmlns:a16="http://schemas.microsoft.com/office/drawing/2014/main" id="{1262DCBB-EDF8-4032-868C-BB23C25512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5" name="Freeform 182">
                <a:extLst>
                  <a:ext uri="{FF2B5EF4-FFF2-40B4-BE49-F238E27FC236}">
                    <a16:creationId xmlns:a16="http://schemas.microsoft.com/office/drawing/2014/main" id="{DC028B55-5A97-4074-B2A8-386962CFF5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6" name="Freeform 183">
                <a:extLst>
                  <a:ext uri="{FF2B5EF4-FFF2-40B4-BE49-F238E27FC236}">
                    <a16:creationId xmlns:a16="http://schemas.microsoft.com/office/drawing/2014/main" id="{66301A42-CEAA-4448-BE00-4EF2859123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7" name="Freeform 184">
                <a:extLst>
                  <a:ext uri="{FF2B5EF4-FFF2-40B4-BE49-F238E27FC236}">
                    <a16:creationId xmlns:a16="http://schemas.microsoft.com/office/drawing/2014/main" id="{4CB3D804-B5AB-46F5-A4EA-88CAFE9FD4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8" name="Freeform 185">
                <a:extLst>
                  <a:ext uri="{FF2B5EF4-FFF2-40B4-BE49-F238E27FC236}">
                    <a16:creationId xmlns:a16="http://schemas.microsoft.com/office/drawing/2014/main" id="{F4BB1E9B-AA75-4D1E-99F5-4CFBA385F8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9" name="Freeform 186">
                <a:extLst>
                  <a:ext uri="{FF2B5EF4-FFF2-40B4-BE49-F238E27FC236}">
                    <a16:creationId xmlns:a16="http://schemas.microsoft.com/office/drawing/2014/main" id="{AF02FA30-EC23-4C6A-AB66-D6D8A77C3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0" name="Freeform 187">
                <a:extLst>
                  <a:ext uri="{FF2B5EF4-FFF2-40B4-BE49-F238E27FC236}">
                    <a16:creationId xmlns:a16="http://schemas.microsoft.com/office/drawing/2014/main" id="{C5960EFE-9ED0-4428-BCE8-DCDAFEAB36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1" name="Freeform 157">
                <a:extLst>
                  <a:ext uri="{FF2B5EF4-FFF2-40B4-BE49-F238E27FC236}">
                    <a16:creationId xmlns:a16="http://schemas.microsoft.com/office/drawing/2014/main" id="{8B0CE23D-85B4-49C3-AD05-D5CFB2FEC1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2" name="Freeform 158">
                <a:extLst>
                  <a:ext uri="{FF2B5EF4-FFF2-40B4-BE49-F238E27FC236}">
                    <a16:creationId xmlns:a16="http://schemas.microsoft.com/office/drawing/2014/main" id="{571236F7-8259-4370-8611-A19CBD1A16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3" name="Freeform 161">
                <a:extLst>
                  <a:ext uri="{FF2B5EF4-FFF2-40B4-BE49-F238E27FC236}">
                    <a16:creationId xmlns:a16="http://schemas.microsoft.com/office/drawing/2014/main" id="{DE720DD1-B9F1-4911-AEBE-BE6CA3E7A1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4" name="Freeform 162">
                <a:extLst>
                  <a:ext uri="{FF2B5EF4-FFF2-40B4-BE49-F238E27FC236}">
                    <a16:creationId xmlns:a16="http://schemas.microsoft.com/office/drawing/2014/main" id="{754F5CC1-A962-45EB-AA27-E6F820601A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5" name="Freeform 163">
                <a:extLst>
                  <a:ext uri="{FF2B5EF4-FFF2-40B4-BE49-F238E27FC236}">
                    <a16:creationId xmlns:a16="http://schemas.microsoft.com/office/drawing/2014/main" id="{1208BCF4-A7EA-4DCF-906E-93D1ADE014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6" name="Freeform 164">
                <a:extLst>
                  <a:ext uri="{FF2B5EF4-FFF2-40B4-BE49-F238E27FC236}">
                    <a16:creationId xmlns:a16="http://schemas.microsoft.com/office/drawing/2014/main" id="{CFE8320C-A3B0-4A7B-81A2-9924B9A2DB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7" name="Freeform 165">
                <a:extLst>
                  <a:ext uri="{FF2B5EF4-FFF2-40B4-BE49-F238E27FC236}">
                    <a16:creationId xmlns:a16="http://schemas.microsoft.com/office/drawing/2014/main" id="{7DF2CBE0-F0A0-4812-9C4E-7594AC9A38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8" name="Freeform 166">
                <a:extLst>
                  <a:ext uri="{FF2B5EF4-FFF2-40B4-BE49-F238E27FC236}">
                    <a16:creationId xmlns:a16="http://schemas.microsoft.com/office/drawing/2014/main" id="{2B12489B-EAB5-4E65-B8CA-1D630C6E73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9" name="Freeform 167">
                <a:extLst>
                  <a:ext uri="{FF2B5EF4-FFF2-40B4-BE49-F238E27FC236}">
                    <a16:creationId xmlns:a16="http://schemas.microsoft.com/office/drawing/2014/main" id="{4701C778-803B-40DE-A370-48CE415223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0" name="Freeform 168">
                <a:extLst>
                  <a:ext uri="{FF2B5EF4-FFF2-40B4-BE49-F238E27FC236}">
                    <a16:creationId xmlns:a16="http://schemas.microsoft.com/office/drawing/2014/main" id="{4E7D775C-83BA-48FC-86DF-3AAD2337B1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1" name="Freeform 169">
                <a:extLst>
                  <a:ext uri="{FF2B5EF4-FFF2-40B4-BE49-F238E27FC236}">
                    <a16:creationId xmlns:a16="http://schemas.microsoft.com/office/drawing/2014/main" id="{F44F4EC9-4059-45F9-AC43-6E6C309C7D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2" name="Freeform 170">
                <a:extLst>
                  <a:ext uri="{FF2B5EF4-FFF2-40B4-BE49-F238E27FC236}">
                    <a16:creationId xmlns:a16="http://schemas.microsoft.com/office/drawing/2014/main" id="{F911E433-A0C8-4AA8-A9F2-7A5C20DC8E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3" name="Freeform 171">
                <a:extLst>
                  <a:ext uri="{FF2B5EF4-FFF2-40B4-BE49-F238E27FC236}">
                    <a16:creationId xmlns:a16="http://schemas.microsoft.com/office/drawing/2014/main" id="{1408D7AA-D2EE-4639-A118-0C2ABD9062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4" name="Freeform 172">
                <a:extLst>
                  <a:ext uri="{FF2B5EF4-FFF2-40B4-BE49-F238E27FC236}">
                    <a16:creationId xmlns:a16="http://schemas.microsoft.com/office/drawing/2014/main" id="{B7D9C0A5-311D-4942-82B6-365FF94DED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5" name="Freeform 173">
                <a:extLst>
                  <a:ext uri="{FF2B5EF4-FFF2-40B4-BE49-F238E27FC236}">
                    <a16:creationId xmlns:a16="http://schemas.microsoft.com/office/drawing/2014/main" id="{AD2B497D-32E1-4904-B31C-9818EA013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6" name="Freeform 174">
                <a:extLst>
                  <a:ext uri="{FF2B5EF4-FFF2-40B4-BE49-F238E27FC236}">
                    <a16:creationId xmlns:a16="http://schemas.microsoft.com/office/drawing/2014/main" id="{C5AFF1DF-0C98-40CE-90DE-589D38B154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7" name="Freeform 175">
                <a:extLst>
                  <a:ext uri="{FF2B5EF4-FFF2-40B4-BE49-F238E27FC236}">
                    <a16:creationId xmlns:a16="http://schemas.microsoft.com/office/drawing/2014/main" id="{63F337C9-8FA5-4589-93E2-6587AAEB5E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8" name="Freeform 176">
                <a:extLst>
                  <a:ext uri="{FF2B5EF4-FFF2-40B4-BE49-F238E27FC236}">
                    <a16:creationId xmlns:a16="http://schemas.microsoft.com/office/drawing/2014/main" id="{FC580991-49C7-4D06-9129-57C1C66911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9" name="Freeform 177">
                <a:extLst>
                  <a:ext uri="{FF2B5EF4-FFF2-40B4-BE49-F238E27FC236}">
                    <a16:creationId xmlns:a16="http://schemas.microsoft.com/office/drawing/2014/main" id="{006B05E2-CC50-4AC9-B775-38EF0CED01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0" name="Freeform 178">
                <a:extLst>
                  <a:ext uri="{FF2B5EF4-FFF2-40B4-BE49-F238E27FC236}">
                    <a16:creationId xmlns:a16="http://schemas.microsoft.com/office/drawing/2014/main" id="{2123B6F0-C938-4E5C-A991-0B5B357E59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1" name="Freeform 188">
                <a:extLst>
                  <a:ext uri="{FF2B5EF4-FFF2-40B4-BE49-F238E27FC236}">
                    <a16:creationId xmlns:a16="http://schemas.microsoft.com/office/drawing/2014/main" id="{55A81C8A-3D33-4B18-ACE8-2B9B0EC260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2" name="Freeform 103">
                <a:extLst>
                  <a:ext uri="{FF2B5EF4-FFF2-40B4-BE49-F238E27FC236}">
                    <a16:creationId xmlns:a16="http://schemas.microsoft.com/office/drawing/2014/main" id="{A88CE72F-9811-4FC4-B7BA-FD69E22502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3" name="Freeform 104">
                <a:extLst>
                  <a:ext uri="{FF2B5EF4-FFF2-40B4-BE49-F238E27FC236}">
                    <a16:creationId xmlns:a16="http://schemas.microsoft.com/office/drawing/2014/main" id="{E34EC3E5-CF38-446F-A0C9-B0300729CB2B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661" name="AutoShape 25">
              <a:extLst>
                <a:ext uri="{FF2B5EF4-FFF2-40B4-BE49-F238E27FC236}">
                  <a16:creationId xmlns:a16="http://schemas.microsoft.com/office/drawing/2014/main" id="{F74D5FC1-7318-4CA0-A77C-290094877A04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923" y="3836717"/>
              <a:ext cx="158435" cy="327366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2" name="AutoShape 22">
              <a:extLst>
                <a:ext uri="{FF2B5EF4-FFF2-40B4-BE49-F238E27FC236}">
                  <a16:creationId xmlns:a16="http://schemas.microsoft.com/office/drawing/2014/main" id="{ED90A827-94F3-49DF-B334-0FC724B62A5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734" y="3820290"/>
              <a:ext cx="139748" cy="340273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663" name="Gruppieren 281">
              <a:extLst>
                <a:ext uri="{FF2B5EF4-FFF2-40B4-BE49-F238E27FC236}">
                  <a16:creationId xmlns:a16="http://schemas.microsoft.com/office/drawing/2014/main" id="{C8D5B8C0-1E1C-444C-ABC5-96624CB4D9CD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664" name="Freeform 156">
                <a:extLst>
                  <a:ext uri="{FF2B5EF4-FFF2-40B4-BE49-F238E27FC236}">
                    <a16:creationId xmlns:a16="http://schemas.microsoft.com/office/drawing/2014/main" id="{A7D98AD5-47A6-4486-9912-45D43C4A60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5" name="Freeform 159">
                <a:extLst>
                  <a:ext uri="{FF2B5EF4-FFF2-40B4-BE49-F238E27FC236}">
                    <a16:creationId xmlns:a16="http://schemas.microsoft.com/office/drawing/2014/main" id="{B2996774-D6E8-4968-AD76-8F31B421B6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6" name="Freeform 160">
                <a:extLst>
                  <a:ext uri="{FF2B5EF4-FFF2-40B4-BE49-F238E27FC236}">
                    <a16:creationId xmlns:a16="http://schemas.microsoft.com/office/drawing/2014/main" id="{D7153735-1AC3-4E8E-A632-F4824B716F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7" name="Freeform 179">
                <a:extLst>
                  <a:ext uri="{FF2B5EF4-FFF2-40B4-BE49-F238E27FC236}">
                    <a16:creationId xmlns:a16="http://schemas.microsoft.com/office/drawing/2014/main" id="{6DA8FC0B-07BB-41EF-AA1D-EDAAD19440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8" name="Freeform 180">
                <a:extLst>
                  <a:ext uri="{FF2B5EF4-FFF2-40B4-BE49-F238E27FC236}">
                    <a16:creationId xmlns:a16="http://schemas.microsoft.com/office/drawing/2014/main" id="{51E7EB25-CF42-42BC-BA84-4A7A140D83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9" name="Freeform 181">
                <a:extLst>
                  <a:ext uri="{FF2B5EF4-FFF2-40B4-BE49-F238E27FC236}">
                    <a16:creationId xmlns:a16="http://schemas.microsoft.com/office/drawing/2014/main" id="{7AAB0159-AD1B-472C-B9D6-C9AF5A606F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0" name="Freeform 182">
                <a:extLst>
                  <a:ext uri="{FF2B5EF4-FFF2-40B4-BE49-F238E27FC236}">
                    <a16:creationId xmlns:a16="http://schemas.microsoft.com/office/drawing/2014/main" id="{5EFAAC58-C184-4FED-B071-B388D2A9CF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1" name="Freeform 183">
                <a:extLst>
                  <a:ext uri="{FF2B5EF4-FFF2-40B4-BE49-F238E27FC236}">
                    <a16:creationId xmlns:a16="http://schemas.microsoft.com/office/drawing/2014/main" id="{CBF75ED1-AC71-4B3A-8E51-92A37D1075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2" name="Freeform 184">
                <a:extLst>
                  <a:ext uri="{FF2B5EF4-FFF2-40B4-BE49-F238E27FC236}">
                    <a16:creationId xmlns:a16="http://schemas.microsoft.com/office/drawing/2014/main" id="{C0A950A7-A710-4BFF-B629-EB272760C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3" name="Freeform 185">
                <a:extLst>
                  <a:ext uri="{FF2B5EF4-FFF2-40B4-BE49-F238E27FC236}">
                    <a16:creationId xmlns:a16="http://schemas.microsoft.com/office/drawing/2014/main" id="{EE6704CB-B0AB-4D02-BA6A-CED78BA972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4" name="Freeform 186">
                <a:extLst>
                  <a:ext uri="{FF2B5EF4-FFF2-40B4-BE49-F238E27FC236}">
                    <a16:creationId xmlns:a16="http://schemas.microsoft.com/office/drawing/2014/main" id="{471E1C63-BA0D-4F09-815E-E303387960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5" name="Freeform 187">
                <a:extLst>
                  <a:ext uri="{FF2B5EF4-FFF2-40B4-BE49-F238E27FC236}">
                    <a16:creationId xmlns:a16="http://schemas.microsoft.com/office/drawing/2014/main" id="{435892EE-776B-431E-B1B6-01F5E7F4BE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6" name="Freeform 157">
                <a:extLst>
                  <a:ext uri="{FF2B5EF4-FFF2-40B4-BE49-F238E27FC236}">
                    <a16:creationId xmlns:a16="http://schemas.microsoft.com/office/drawing/2014/main" id="{D85C0A9E-0632-4A12-8FC7-DC246E1E4D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7" name="Freeform 158">
                <a:extLst>
                  <a:ext uri="{FF2B5EF4-FFF2-40B4-BE49-F238E27FC236}">
                    <a16:creationId xmlns:a16="http://schemas.microsoft.com/office/drawing/2014/main" id="{17A20603-F9B1-46E3-B838-5AB1DCBD3D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8" name="Freeform 161">
                <a:extLst>
                  <a:ext uri="{FF2B5EF4-FFF2-40B4-BE49-F238E27FC236}">
                    <a16:creationId xmlns:a16="http://schemas.microsoft.com/office/drawing/2014/main" id="{233AFA34-FB6F-44C2-B9AE-152F48762A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9" name="Freeform 162">
                <a:extLst>
                  <a:ext uri="{FF2B5EF4-FFF2-40B4-BE49-F238E27FC236}">
                    <a16:creationId xmlns:a16="http://schemas.microsoft.com/office/drawing/2014/main" id="{112D9591-2CFC-4733-9172-45D1181622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0" name="Freeform 163">
                <a:extLst>
                  <a:ext uri="{FF2B5EF4-FFF2-40B4-BE49-F238E27FC236}">
                    <a16:creationId xmlns:a16="http://schemas.microsoft.com/office/drawing/2014/main" id="{F187B985-BABF-4E5E-9379-601860173B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1" name="Freeform 164">
                <a:extLst>
                  <a:ext uri="{FF2B5EF4-FFF2-40B4-BE49-F238E27FC236}">
                    <a16:creationId xmlns:a16="http://schemas.microsoft.com/office/drawing/2014/main" id="{88F91A8C-BA02-4E1C-AE5E-6E84FB0B91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2" name="Freeform 165">
                <a:extLst>
                  <a:ext uri="{FF2B5EF4-FFF2-40B4-BE49-F238E27FC236}">
                    <a16:creationId xmlns:a16="http://schemas.microsoft.com/office/drawing/2014/main" id="{F4EC13B9-2317-4D08-BA64-A13AECDA1D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3" name="Freeform 166">
                <a:extLst>
                  <a:ext uri="{FF2B5EF4-FFF2-40B4-BE49-F238E27FC236}">
                    <a16:creationId xmlns:a16="http://schemas.microsoft.com/office/drawing/2014/main" id="{07AB44C6-BD7D-444C-BCF9-0AED82F47E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4" name="Freeform 167">
                <a:extLst>
                  <a:ext uri="{FF2B5EF4-FFF2-40B4-BE49-F238E27FC236}">
                    <a16:creationId xmlns:a16="http://schemas.microsoft.com/office/drawing/2014/main" id="{923E1FB3-0FCA-41DA-AB04-BE5FB1314B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5" name="Freeform 168">
                <a:extLst>
                  <a:ext uri="{FF2B5EF4-FFF2-40B4-BE49-F238E27FC236}">
                    <a16:creationId xmlns:a16="http://schemas.microsoft.com/office/drawing/2014/main" id="{8E6D3126-AD34-48E5-BF8A-3BA6CA668E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6" name="Freeform 169">
                <a:extLst>
                  <a:ext uri="{FF2B5EF4-FFF2-40B4-BE49-F238E27FC236}">
                    <a16:creationId xmlns:a16="http://schemas.microsoft.com/office/drawing/2014/main" id="{D1CFB824-656C-4CFA-8770-BFFA38D144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7" name="Freeform 170">
                <a:extLst>
                  <a:ext uri="{FF2B5EF4-FFF2-40B4-BE49-F238E27FC236}">
                    <a16:creationId xmlns:a16="http://schemas.microsoft.com/office/drawing/2014/main" id="{A73EC0B8-0F56-43E7-AC80-23F709D902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8" name="Freeform 171">
                <a:extLst>
                  <a:ext uri="{FF2B5EF4-FFF2-40B4-BE49-F238E27FC236}">
                    <a16:creationId xmlns:a16="http://schemas.microsoft.com/office/drawing/2014/main" id="{D9A79B6F-BAC8-4196-9512-06051741F1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9" name="Freeform 172">
                <a:extLst>
                  <a:ext uri="{FF2B5EF4-FFF2-40B4-BE49-F238E27FC236}">
                    <a16:creationId xmlns:a16="http://schemas.microsoft.com/office/drawing/2014/main" id="{B3FBD54A-B1F7-47E3-942F-9AAE3115AF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0" name="Freeform 173">
                <a:extLst>
                  <a:ext uri="{FF2B5EF4-FFF2-40B4-BE49-F238E27FC236}">
                    <a16:creationId xmlns:a16="http://schemas.microsoft.com/office/drawing/2014/main" id="{BC68E22B-338F-4545-B98D-411958492F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1" name="Freeform 174">
                <a:extLst>
                  <a:ext uri="{FF2B5EF4-FFF2-40B4-BE49-F238E27FC236}">
                    <a16:creationId xmlns:a16="http://schemas.microsoft.com/office/drawing/2014/main" id="{CEE7A965-6610-46DD-8E61-104231BA6E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2" name="Freeform 175">
                <a:extLst>
                  <a:ext uri="{FF2B5EF4-FFF2-40B4-BE49-F238E27FC236}">
                    <a16:creationId xmlns:a16="http://schemas.microsoft.com/office/drawing/2014/main" id="{61173A49-1CA1-4A56-ADE2-BBE3F4D3FA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3" name="Freeform 176">
                <a:extLst>
                  <a:ext uri="{FF2B5EF4-FFF2-40B4-BE49-F238E27FC236}">
                    <a16:creationId xmlns:a16="http://schemas.microsoft.com/office/drawing/2014/main" id="{ED764398-182C-453C-A57D-C9BE66E8E3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4" name="Freeform 177">
                <a:extLst>
                  <a:ext uri="{FF2B5EF4-FFF2-40B4-BE49-F238E27FC236}">
                    <a16:creationId xmlns:a16="http://schemas.microsoft.com/office/drawing/2014/main" id="{6739AD90-FAD5-4910-8952-3CFFFB1C0B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5" name="Freeform 178">
                <a:extLst>
                  <a:ext uri="{FF2B5EF4-FFF2-40B4-BE49-F238E27FC236}">
                    <a16:creationId xmlns:a16="http://schemas.microsoft.com/office/drawing/2014/main" id="{69EDDF63-0C84-42F1-A7D5-335D0CAD86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6" name="Freeform 188">
                <a:extLst>
                  <a:ext uri="{FF2B5EF4-FFF2-40B4-BE49-F238E27FC236}">
                    <a16:creationId xmlns:a16="http://schemas.microsoft.com/office/drawing/2014/main" id="{CBB9BE66-62A6-4499-B642-11C9B61E4A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7" name="Freeform 103">
                <a:extLst>
                  <a:ext uri="{FF2B5EF4-FFF2-40B4-BE49-F238E27FC236}">
                    <a16:creationId xmlns:a16="http://schemas.microsoft.com/office/drawing/2014/main" id="{1458C4B6-8A93-4A91-95B5-ED2BE34188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8" name="Freeform 104">
                <a:extLst>
                  <a:ext uri="{FF2B5EF4-FFF2-40B4-BE49-F238E27FC236}">
                    <a16:creationId xmlns:a16="http://schemas.microsoft.com/office/drawing/2014/main" id="{7F0F83E6-DD65-49CB-A4DA-7ECF54132E6E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pic>
        <p:nvPicPr>
          <p:cNvPr id="736" name="Image 1601">
            <a:extLst>
              <a:ext uri="{FF2B5EF4-FFF2-40B4-BE49-F238E27FC236}">
                <a16:creationId xmlns:a16="http://schemas.microsoft.com/office/drawing/2014/main" id="{DAF14EA0-C449-48AC-BEEA-417EC4D290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9885" y="1237093"/>
            <a:ext cx="171247" cy="167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7" name="Image 1601">
            <a:extLst>
              <a:ext uri="{FF2B5EF4-FFF2-40B4-BE49-F238E27FC236}">
                <a16:creationId xmlns:a16="http://schemas.microsoft.com/office/drawing/2014/main" id="{8F7523CA-2087-4C42-BFE8-033E85C459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44112" y="1409392"/>
            <a:ext cx="171247" cy="167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6" name="Image 1505">
            <a:extLst>
              <a:ext uri="{FF2B5EF4-FFF2-40B4-BE49-F238E27FC236}">
                <a16:creationId xmlns:a16="http://schemas.microsoft.com/office/drawing/2014/main" id="{5A31B15C-01C2-4BAD-AED7-748720AD25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98382" y="1693774"/>
            <a:ext cx="361482" cy="354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9" name="ZoneTexte 748">
            <a:extLst>
              <a:ext uri="{FF2B5EF4-FFF2-40B4-BE49-F238E27FC236}">
                <a16:creationId xmlns:a16="http://schemas.microsoft.com/office/drawing/2014/main" id="{EF813620-BB5E-47FF-A621-B6D1D71F3622}"/>
              </a:ext>
            </a:extLst>
          </p:cNvPr>
          <p:cNvSpPr txBox="1"/>
          <p:nvPr/>
        </p:nvSpPr>
        <p:spPr>
          <a:xfrm>
            <a:off x="5874050" y="1401748"/>
            <a:ext cx="246457" cy="1558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  <a:latin typeface="Michelin SemiBold" panose="02000000000000000000" pitchFamily="50" charset="0"/>
              </a:rPr>
              <a:t>in</a:t>
            </a:r>
          </a:p>
        </p:txBody>
      </p:sp>
      <p:sp>
        <p:nvSpPr>
          <p:cNvPr id="750" name="ZoneTexte 749">
            <a:extLst>
              <a:ext uri="{FF2B5EF4-FFF2-40B4-BE49-F238E27FC236}">
                <a16:creationId xmlns:a16="http://schemas.microsoft.com/office/drawing/2014/main" id="{6492C634-0C4F-445D-B73C-6FB70101C786}"/>
              </a:ext>
            </a:extLst>
          </p:cNvPr>
          <p:cNvSpPr txBox="1"/>
          <p:nvPr/>
        </p:nvSpPr>
        <p:spPr>
          <a:xfrm>
            <a:off x="5863140" y="1063503"/>
            <a:ext cx="377665" cy="1558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>
                <a:solidFill>
                  <a:schemeClr val="tx2"/>
                </a:solidFill>
                <a:latin typeface="Michelin SemiBold" panose="02000000000000000000" pitchFamily="50" charset="0"/>
              </a:rPr>
              <a:t>data</a:t>
            </a:r>
          </a:p>
        </p:txBody>
      </p:sp>
      <p:cxnSp>
        <p:nvCxnSpPr>
          <p:cNvPr id="762" name="Connecteur droit 761">
            <a:extLst>
              <a:ext uri="{FF2B5EF4-FFF2-40B4-BE49-F238E27FC236}">
                <a16:creationId xmlns:a16="http://schemas.microsoft.com/office/drawing/2014/main" id="{EBD6444F-3E79-43F3-8A9E-5FB0D20A8D01}"/>
              </a:ext>
            </a:extLst>
          </p:cNvPr>
          <p:cNvCxnSpPr>
            <a:cxnSpLocks/>
            <a:endCxn id="15" idx="0"/>
          </p:cNvCxnSpPr>
          <p:nvPr/>
        </p:nvCxnSpPr>
        <p:spPr>
          <a:xfrm flipH="1">
            <a:off x="4889891" y="1237093"/>
            <a:ext cx="182822" cy="398313"/>
          </a:xfrm>
          <a:prstGeom prst="line">
            <a:avLst/>
          </a:prstGeom>
          <a:ln w="38100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2" name="ZoneTexte 421">
            <a:extLst>
              <a:ext uri="{FF2B5EF4-FFF2-40B4-BE49-F238E27FC236}">
                <a16:creationId xmlns:a16="http://schemas.microsoft.com/office/drawing/2014/main" id="{CB397E62-EC04-4ACF-B83A-44B005B00856}"/>
              </a:ext>
            </a:extLst>
          </p:cNvPr>
          <p:cNvSpPr txBox="1"/>
          <p:nvPr/>
        </p:nvSpPr>
        <p:spPr>
          <a:xfrm>
            <a:off x="2667936" y="2364301"/>
            <a:ext cx="13064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Script" panose="030B0504020000000003" pitchFamily="66" charset="0"/>
              </a:rPr>
              <a:t>« END TO END »</a:t>
            </a:r>
          </a:p>
        </p:txBody>
      </p:sp>
      <p:sp>
        <p:nvSpPr>
          <p:cNvPr id="454" name="ZoneTexte 453">
            <a:extLst>
              <a:ext uri="{FF2B5EF4-FFF2-40B4-BE49-F238E27FC236}">
                <a16:creationId xmlns:a16="http://schemas.microsoft.com/office/drawing/2014/main" id="{D092A91C-3800-46F7-A633-61514963B908}"/>
              </a:ext>
            </a:extLst>
          </p:cNvPr>
          <p:cNvSpPr txBox="1"/>
          <p:nvPr/>
        </p:nvSpPr>
        <p:spPr>
          <a:xfrm>
            <a:off x="3815364" y="2094999"/>
            <a:ext cx="72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800">
                <a:solidFill>
                  <a:srgbClr val="C0504D"/>
                </a:solidFill>
                <a:latin typeface="Michelin Black" panose="02000000000000000000" pitchFamily="50" charset="0"/>
              </a:defRPr>
            </a:lvl1pPr>
          </a:lstStyle>
          <a:p>
            <a:pPr algn="ctr">
              <a:defRPr/>
            </a:pPr>
            <a:r>
              <a:rPr lang="fr-FR" sz="500" b="1" dirty="0">
                <a:solidFill>
                  <a:schemeClr val="tx2"/>
                </a:solidFill>
                <a:cs typeface="Aharoni" panose="02010803020104030203" pitchFamily="2" charset="-79"/>
              </a:rPr>
              <a:t>PRODUCT</a:t>
            </a:r>
          </a:p>
          <a:p>
            <a:pPr algn="ctr">
              <a:defRPr/>
            </a:pPr>
            <a:r>
              <a:rPr lang="fr-FR" sz="500" b="1" dirty="0">
                <a:solidFill>
                  <a:schemeClr val="tx2"/>
                </a:solidFill>
                <a:cs typeface="Aharoni" panose="02010803020104030203" pitchFamily="2" charset="-79"/>
              </a:rPr>
              <a:t>ARCHITECT</a:t>
            </a:r>
            <a:endParaRPr lang="en-US" sz="500" b="1" dirty="0">
              <a:solidFill>
                <a:schemeClr val="tx2"/>
              </a:solidFill>
              <a:cs typeface="Aharoni" panose="02010803020104030203" pitchFamily="2" charset="-79"/>
            </a:endParaRPr>
          </a:p>
        </p:txBody>
      </p:sp>
      <p:grpSp>
        <p:nvGrpSpPr>
          <p:cNvPr id="457" name="Groupe 1415">
            <a:extLst>
              <a:ext uri="{FF2B5EF4-FFF2-40B4-BE49-F238E27FC236}">
                <a16:creationId xmlns:a16="http://schemas.microsoft.com/office/drawing/2014/main" id="{011D37B8-9EDD-4C0A-A29A-E305847D94AA}"/>
              </a:ext>
            </a:extLst>
          </p:cNvPr>
          <p:cNvGrpSpPr>
            <a:grpSpLocks/>
          </p:cNvGrpSpPr>
          <p:nvPr/>
        </p:nvGrpSpPr>
        <p:grpSpPr bwMode="auto">
          <a:xfrm>
            <a:off x="2879671" y="933165"/>
            <a:ext cx="434101" cy="379461"/>
            <a:chOff x="2335613" y="3820290"/>
            <a:chExt cx="653238" cy="560864"/>
          </a:xfrm>
        </p:grpSpPr>
        <p:sp>
          <p:nvSpPr>
            <p:cNvPr id="458" name="Ellipse 457">
              <a:extLst>
                <a:ext uri="{FF2B5EF4-FFF2-40B4-BE49-F238E27FC236}">
                  <a16:creationId xmlns:a16="http://schemas.microsoft.com/office/drawing/2014/main" id="{749FDB7D-7BC5-41EB-849E-9681581E9800}"/>
                </a:ext>
              </a:extLst>
            </p:cNvPr>
            <p:cNvSpPr/>
            <p:nvPr/>
          </p:nvSpPr>
          <p:spPr bwMode="auto">
            <a:xfrm>
              <a:off x="2335613" y="3917291"/>
              <a:ext cx="653238" cy="463863"/>
            </a:xfrm>
            <a:prstGeom prst="ellipse">
              <a:avLst/>
            </a:prstGeom>
            <a:solidFill>
              <a:schemeClr val="accent4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57150" prstMaterial="matte"/>
          </p:spPr>
          <p:txBody>
            <a:bodyPr lIns="0" tIns="0" rIns="0" bIns="0" anchor="ctr"/>
            <a:lstStyle/>
            <a:p>
              <a:pPr algn="ctr" defTabSz="3210641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54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461" name="_effect" descr="C:\Users\marc.h\Desktop\Schatten-TEST.png">
              <a:extLst>
                <a:ext uri="{FF2B5EF4-FFF2-40B4-BE49-F238E27FC236}">
                  <a16:creationId xmlns:a16="http://schemas.microsoft.com/office/drawing/2014/main" id="{29A5EFAB-1FAE-4B3F-9CFC-A78C30FA7E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441644" y="4131620"/>
              <a:ext cx="441180" cy="66490"/>
            </a:xfrm>
            <a:prstGeom prst="rect">
              <a:avLst/>
            </a:prstGeom>
            <a:solidFill>
              <a:schemeClr val="accent4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463" name="Gruppieren 96">
              <a:extLst>
                <a:ext uri="{FF2B5EF4-FFF2-40B4-BE49-F238E27FC236}">
                  <a16:creationId xmlns:a16="http://schemas.microsoft.com/office/drawing/2014/main" id="{C93CCC78-4FC0-4BB0-8A51-3A1D3B0F78D7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502" name="Freeform 156">
                <a:extLst>
                  <a:ext uri="{FF2B5EF4-FFF2-40B4-BE49-F238E27FC236}">
                    <a16:creationId xmlns:a16="http://schemas.microsoft.com/office/drawing/2014/main" id="{FA9C344C-6AB4-4845-9CE9-9FD5E95CA0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3" name="Freeform 159">
                <a:extLst>
                  <a:ext uri="{FF2B5EF4-FFF2-40B4-BE49-F238E27FC236}">
                    <a16:creationId xmlns:a16="http://schemas.microsoft.com/office/drawing/2014/main" id="{F393ED55-416E-473D-B5AF-4256B5FDFC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4" name="Freeform 160">
                <a:extLst>
                  <a:ext uri="{FF2B5EF4-FFF2-40B4-BE49-F238E27FC236}">
                    <a16:creationId xmlns:a16="http://schemas.microsoft.com/office/drawing/2014/main" id="{A83D9531-DC05-4265-8633-18FE11F6F2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5" name="Freeform 179">
                <a:extLst>
                  <a:ext uri="{FF2B5EF4-FFF2-40B4-BE49-F238E27FC236}">
                    <a16:creationId xmlns:a16="http://schemas.microsoft.com/office/drawing/2014/main" id="{4F383ED2-2119-4691-A1A1-69D564A4E7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6" name="Freeform 180">
                <a:extLst>
                  <a:ext uri="{FF2B5EF4-FFF2-40B4-BE49-F238E27FC236}">
                    <a16:creationId xmlns:a16="http://schemas.microsoft.com/office/drawing/2014/main" id="{89778C2D-3170-4653-AE57-315B080893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7" name="Freeform 181">
                <a:extLst>
                  <a:ext uri="{FF2B5EF4-FFF2-40B4-BE49-F238E27FC236}">
                    <a16:creationId xmlns:a16="http://schemas.microsoft.com/office/drawing/2014/main" id="{CD263105-46B7-4E19-95D1-B4928EE3A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8" name="Freeform 182">
                <a:extLst>
                  <a:ext uri="{FF2B5EF4-FFF2-40B4-BE49-F238E27FC236}">
                    <a16:creationId xmlns:a16="http://schemas.microsoft.com/office/drawing/2014/main" id="{956232E8-6FF5-410A-9CB9-8DA769A88F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9" name="Freeform 183">
                <a:extLst>
                  <a:ext uri="{FF2B5EF4-FFF2-40B4-BE49-F238E27FC236}">
                    <a16:creationId xmlns:a16="http://schemas.microsoft.com/office/drawing/2014/main" id="{23DC6C50-A35B-461A-A90A-B5FE88AEDE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0" name="Freeform 184">
                <a:extLst>
                  <a:ext uri="{FF2B5EF4-FFF2-40B4-BE49-F238E27FC236}">
                    <a16:creationId xmlns:a16="http://schemas.microsoft.com/office/drawing/2014/main" id="{D478BE85-2EFD-4CBB-B943-D71C15218F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1" name="Freeform 185">
                <a:extLst>
                  <a:ext uri="{FF2B5EF4-FFF2-40B4-BE49-F238E27FC236}">
                    <a16:creationId xmlns:a16="http://schemas.microsoft.com/office/drawing/2014/main" id="{02309356-E7A4-4DE4-84E4-E22E621F23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2" name="Freeform 186">
                <a:extLst>
                  <a:ext uri="{FF2B5EF4-FFF2-40B4-BE49-F238E27FC236}">
                    <a16:creationId xmlns:a16="http://schemas.microsoft.com/office/drawing/2014/main" id="{7C284A60-5BC4-43D7-9E0A-D6FA11E6D7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5" name="Freeform 187">
                <a:extLst>
                  <a:ext uri="{FF2B5EF4-FFF2-40B4-BE49-F238E27FC236}">
                    <a16:creationId xmlns:a16="http://schemas.microsoft.com/office/drawing/2014/main" id="{8C87E058-C447-43F0-B28A-61ADE7BA18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8" name="Freeform 157">
                <a:extLst>
                  <a:ext uri="{FF2B5EF4-FFF2-40B4-BE49-F238E27FC236}">
                    <a16:creationId xmlns:a16="http://schemas.microsoft.com/office/drawing/2014/main" id="{C22020A9-1440-4255-A817-F47E6D1D4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19" name="Freeform 158">
                <a:extLst>
                  <a:ext uri="{FF2B5EF4-FFF2-40B4-BE49-F238E27FC236}">
                    <a16:creationId xmlns:a16="http://schemas.microsoft.com/office/drawing/2014/main" id="{FBADC1A1-2995-479F-A232-9E512D8023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0" name="Freeform 161">
                <a:extLst>
                  <a:ext uri="{FF2B5EF4-FFF2-40B4-BE49-F238E27FC236}">
                    <a16:creationId xmlns:a16="http://schemas.microsoft.com/office/drawing/2014/main" id="{90F8579F-CD75-4778-9B0F-5A3CE92448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1" name="Freeform 162">
                <a:extLst>
                  <a:ext uri="{FF2B5EF4-FFF2-40B4-BE49-F238E27FC236}">
                    <a16:creationId xmlns:a16="http://schemas.microsoft.com/office/drawing/2014/main" id="{BB44CE27-295D-4578-B25E-A044E7293C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2" name="Freeform 163">
                <a:extLst>
                  <a:ext uri="{FF2B5EF4-FFF2-40B4-BE49-F238E27FC236}">
                    <a16:creationId xmlns:a16="http://schemas.microsoft.com/office/drawing/2014/main" id="{5894FC98-0B59-4683-8B7D-3C0C61C52A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3" name="Freeform 164">
                <a:extLst>
                  <a:ext uri="{FF2B5EF4-FFF2-40B4-BE49-F238E27FC236}">
                    <a16:creationId xmlns:a16="http://schemas.microsoft.com/office/drawing/2014/main" id="{CFBCFE0D-7529-446F-95DC-0CA7BECEC4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4" name="Freeform 165">
                <a:extLst>
                  <a:ext uri="{FF2B5EF4-FFF2-40B4-BE49-F238E27FC236}">
                    <a16:creationId xmlns:a16="http://schemas.microsoft.com/office/drawing/2014/main" id="{8DC3F2B2-C9C1-43A7-85E9-63010EB62E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5" name="Freeform 166">
                <a:extLst>
                  <a:ext uri="{FF2B5EF4-FFF2-40B4-BE49-F238E27FC236}">
                    <a16:creationId xmlns:a16="http://schemas.microsoft.com/office/drawing/2014/main" id="{D282B012-6800-46FB-A8DC-ABB0925525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6" name="Freeform 167">
                <a:extLst>
                  <a:ext uri="{FF2B5EF4-FFF2-40B4-BE49-F238E27FC236}">
                    <a16:creationId xmlns:a16="http://schemas.microsoft.com/office/drawing/2014/main" id="{CEDB27EA-3281-4AC1-B369-5C3F3984CB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7" name="Freeform 168">
                <a:extLst>
                  <a:ext uri="{FF2B5EF4-FFF2-40B4-BE49-F238E27FC236}">
                    <a16:creationId xmlns:a16="http://schemas.microsoft.com/office/drawing/2014/main" id="{8E264E06-82E3-4776-8F75-2D6B95A9ED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8" name="Freeform 169">
                <a:extLst>
                  <a:ext uri="{FF2B5EF4-FFF2-40B4-BE49-F238E27FC236}">
                    <a16:creationId xmlns:a16="http://schemas.microsoft.com/office/drawing/2014/main" id="{FBF272F4-ADD9-4664-AFC8-A6C90ED2C9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9" name="Freeform 170">
                <a:extLst>
                  <a:ext uri="{FF2B5EF4-FFF2-40B4-BE49-F238E27FC236}">
                    <a16:creationId xmlns:a16="http://schemas.microsoft.com/office/drawing/2014/main" id="{CC08A61C-EF0E-496F-B5E3-819282BCD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0" name="Freeform 171">
                <a:extLst>
                  <a:ext uri="{FF2B5EF4-FFF2-40B4-BE49-F238E27FC236}">
                    <a16:creationId xmlns:a16="http://schemas.microsoft.com/office/drawing/2014/main" id="{840398AA-1B5E-40EF-97D5-0C4699E7AF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1" name="Freeform 172">
                <a:extLst>
                  <a:ext uri="{FF2B5EF4-FFF2-40B4-BE49-F238E27FC236}">
                    <a16:creationId xmlns:a16="http://schemas.microsoft.com/office/drawing/2014/main" id="{857CAA2D-2706-43ED-9BF1-7A68B790DA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2" name="Freeform 173">
                <a:extLst>
                  <a:ext uri="{FF2B5EF4-FFF2-40B4-BE49-F238E27FC236}">
                    <a16:creationId xmlns:a16="http://schemas.microsoft.com/office/drawing/2014/main" id="{290F9877-3101-401D-B99A-204BBE6B90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3" name="Freeform 174">
                <a:extLst>
                  <a:ext uri="{FF2B5EF4-FFF2-40B4-BE49-F238E27FC236}">
                    <a16:creationId xmlns:a16="http://schemas.microsoft.com/office/drawing/2014/main" id="{876CB3F3-DADB-4DB5-914A-8CD7F40081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4" name="Freeform 175">
                <a:extLst>
                  <a:ext uri="{FF2B5EF4-FFF2-40B4-BE49-F238E27FC236}">
                    <a16:creationId xmlns:a16="http://schemas.microsoft.com/office/drawing/2014/main" id="{08D4BB0F-860E-4A1E-81C6-A0E34728C5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5" name="Freeform 176">
                <a:extLst>
                  <a:ext uri="{FF2B5EF4-FFF2-40B4-BE49-F238E27FC236}">
                    <a16:creationId xmlns:a16="http://schemas.microsoft.com/office/drawing/2014/main" id="{7ED6B0BC-63B0-41EF-A117-305C2B01E8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6" name="Freeform 177">
                <a:extLst>
                  <a:ext uri="{FF2B5EF4-FFF2-40B4-BE49-F238E27FC236}">
                    <a16:creationId xmlns:a16="http://schemas.microsoft.com/office/drawing/2014/main" id="{E490DA98-22EF-4E91-BCC5-95BCE4C5B3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4" name="Freeform 178">
                <a:extLst>
                  <a:ext uri="{FF2B5EF4-FFF2-40B4-BE49-F238E27FC236}">
                    <a16:creationId xmlns:a16="http://schemas.microsoft.com/office/drawing/2014/main" id="{96FBC3D7-5ABB-45DE-A5DE-BA43B58C69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5" name="Freeform 188">
                <a:extLst>
                  <a:ext uri="{FF2B5EF4-FFF2-40B4-BE49-F238E27FC236}">
                    <a16:creationId xmlns:a16="http://schemas.microsoft.com/office/drawing/2014/main" id="{1FE5B931-3A7E-430E-AC7D-317A78F27D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6" name="Freeform 103">
                <a:extLst>
                  <a:ext uri="{FF2B5EF4-FFF2-40B4-BE49-F238E27FC236}">
                    <a16:creationId xmlns:a16="http://schemas.microsoft.com/office/drawing/2014/main" id="{D4F92629-202B-4D51-84E2-4EC949E661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47" name="Freeform 104">
                <a:extLst>
                  <a:ext uri="{FF2B5EF4-FFF2-40B4-BE49-F238E27FC236}">
                    <a16:creationId xmlns:a16="http://schemas.microsoft.com/office/drawing/2014/main" id="{298C3D1E-F0E6-41A0-9911-12FAC0AB084C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464" name="AutoShape 25">
              <a:extLst>
                <a:ext uri="{FF2B5EF4-FFF2-40B4-BE49-F238E27FC236}">
                  <a16:creationId xmlns:a16="http://schemas.microsoft.com/office/drawing/2014/main" id="{7CBF6054-B869-4230-BB65-75B80696BB2E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923" y="3836717"/>
              <a:ext cx="158435" cy="327366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5" name="AutoShape 22">
              <a:extLst>
                <a:ext uri="{FF2B5EF4-FFF2-40B4-BE49-F238E27FC236}">
                  <a16:creationId xmlns:a16="http://schemas.microsoft.com/office/drawing/2014/main" id="{79432709-BF94-4136-A0DB-C6D9905CB4A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734" y="3820290"/>
              <a:ext cx="139748" cy="340273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466" name="Gruppieren 281">
              <a:extLst>
                <a:ext uri="{FF2B5EF4-FFF2-40B4-BE49-F238E27FC236}">
                  <a16:creationId xmlns:a16="http://schemas.microsoft.com/office/drawing/2014/main" id="{CD390BD1-FC1E-4C4F-8B6B-5179731A5C17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467" name="Freeform 156">
                <a:extLst>
                  <a:ext uri="{FF2B5EF4-FFF2-40B4-BE49-F238E27FC236}">
                    <a16:creationId xmlns:a16="http://schemas.microsoft.com/office/drawing/2014/main" id="{2C2D0604-C7A0-4444-912E-5FB68B2CC5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8" name="Freeform 159">
                <a:extLst>
                  <a:ext uri="{FF2B5EF4-FFF2-40B4-BE49-F238E27FC236}">
                    <a16:creationId xmlns:a16="http://schemas.microsoft.com/office/drawing/2014/main" id="{4717B14C-1535-49E9-A79E-6F64C3C90D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69" name="Freeform 160">
                <a:extLst>
                  <a:ext uri="{FF2B5EF4-FFF2-40B4-BE49-F238E27FC236}">
                    <a16:creationId xmlns:a16="http://schemas.microsoft.com/office/drawing/2014/main" id="{390E8E8D-4191-4718-97F3-8A984BD74E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0" name="Freeform 179">
                <a:extLst>
                  <a:ext uri="{FF2B5EF4-FFF2-40B4-BE49-F238E27FC236}">
                    <a16:creationId xmlns:a16="http://schemas.microsoft.com/office/drawing/2014/main" id="{6367AFF0-76F4-4242-B375-37ED71D0D2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1" name="Freeform 180">
                <a:extLst>
                  <a:ext uri="{FF2B5EF4-FFF2-40B4-BE49-F238E27FC236}">
                    <a16:creationId xmlns:a16="http://schemas.microsoft.com/office/drawing/2014/main" id="{55DBEF65-7FF9-40BC-8D08-AAFBCD1470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2" name="Freeform 181">
                <a:extLst>
                  <a:ext uri="{FF2B5EF4-FFF2-40B4-BE49-F238E27FC236}">
                    <a16:creationId xmlns:a16="http://schemas.microsoft.com/office/drawing/2014/main" id="{1EB2101B-3DBD-4FE3-9B1F-2BA9790C9F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3" name="Freeform 182">
                <a:extLst>
                  <a:ext uri="{FF2B5EF4-FFF2-40B4-BE49-F238E27FC236}">
                    <a16:creationId xmlns:a16="http://schemas.microsoft.com/office/drawing/2014/main" id="{7EE41C29-6673-4E49-ADE2-4CA6474366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4" name="Freeform 183">
                <a:extLst>
                  <a:ext uri="{FF2B5EF4-FFF2-40B4-BE49-F238E27FC236}">
                    <a16:creationId xmlns:a16="http://schemas.microsoft.com/office/drawing/2014/main" id="{8623624B-3FFD-411A-8699-37D1FC3922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5" name="Freeform 184">
                <a:extLst>
                  <a:ext uri="{FF2B5EF4-FFF2-40B4-BE49-F238E27FC236}">
                    <a16:creationId xmlns:a16="http://schemas.microsoft.com/office/drawing/2014/main" id="{1E33048B-CFB6-4A7F-AFA0-2E5129CC29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6" name="Freeform 185">
                <a:extLst>
                  <a:ext uri="{FF2B5EF4-FFF2-40B4-BE49-F238E27FC236}">
                    <a16:creationId xmlns:a16="http://schemas.microsoft.com/office/drawing/2014/main" id="{4AD30F81-2F75-4646-9134-A3CD9553EF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7" name="Freeform 186">
                <a:extLst>
                  <a:ext uri="{FF2B5EF4-FFF2-40B4-BE49-F238E27FC236}">
                    <a16:creationId xmlns:a16="http://schemas.microsoft.com/office/drawing/2014/main" id="{1F145D60-4265-4758-A25E-9947C830BF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8" name="Freeform 187">
                <a:extLst>
                  <a:ext uri="{FF2B5EF4-FFF2-40B4-BE49-F238E27FC236}">
                    <a16:creationId xmlns:a16="http://schemas.microsoft.com/office/drawing/2014/main" id="{D2300141-61C3-40B4-A625-F2D9E50F2F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79" name="Freeform 157">
                <a:extLst>
                  <a:ext uri="{FF2B5EF4-FFF2-40B4-BE49-F238E27FC236}">
                    <a16:creationId xmlns:a16="http://schemas.microsoft.com/office/drawing/2014/main" id="{AB822120-208E-4650-AC6A-6E701631C1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0" name="Freeform 158">
                <a:extLst>
                  <a:ext uri="{FF2B5EF4-FFF2-40B4-BE49-F238E27FC236}">
                    <a16:creationId xmlns:a16="http://schemas.microsoft.com/office/drawing/2014/main" id="{C88FCACD-0F74-4685-BEA4-EB538F1B69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1" name="Freeform 161">
                <a:extLst>
                  <a:ext uri="{FF2B5EF4-FFF2-40B4-BE49-F238E27FC236}">
                    <a16:creationId xmlns:a16="http://schemas.microsoft.com/office/drawing/2014/main" id="{EA8BC563-3E47-4103-8381-FEF85EB75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2" name="Freeform 162">
                <a:extLst>
                  <a:ext uri="{FF2B5EF4-FFF2-40B4-BE49-F238E27FC236}">
                    <a16:creationId xmlns:a16="http://schemas.microsoft.com/office/drawing/2014/main" id="{7F49544D-7846-4C1F-B93B-03654596B3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3" name="Freeform 163">
                <a:extLst>
                  <a:ext uri="{FF2B5EF4-FFF2-40B4-BE49-F238E27FC236}">
                    <a16:creationId xmlns:a16="http://schemas.microsoft.com/office/drawing/2014/main" id="{5385DFD8-06B4-4E9E-A68E-CE54FF4EFB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4" name="Freeform 164">
                <a:extLst>
                  <a:ext uri="{FF2B5EF4-FFF2-40B4-BE49-F238E27FC236}">
                    <a16:creationId xmlns:a16="http://schemas.microsoft.com/office/drawing/2014/main" id="{DAD6C870-2E79-44D2-9FC6-62885A43AD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5" name="Freeform 165">
                <a:extLst>
                  <a:ext uri="{FF2B5EF4-FFF2-40B4-BE49-F238E27FC236}">
                    <a16:creationId xmlns:a16="http://schemas.microsoft.com/office/drawing/2014/main" id="{B093D1B3-D0B6-4683-90A8-BC76354F00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6" name="Freeform 166">
                <a:extLst>
                  <a:ext uri="{FF2B5EF4-FFF2-40B4-BE49-F238E27FC236}">
                    <a16:creationId xmlns:a16="http://schemas.microsoft.com/office/drawing/2014/main" id="{584CB0CE-DDC0-40E6-BB0A-943790DA5E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7" name="Freeform 167">
                <a:extLst>
                  <a:ext uri="{FF2B5EF4-FFF2-40B4-BE49-F238E27FC236}">
                    <a16:creationId xmlns:a16="http://schemas.microsoft.com/office/drawing/2014/main" id="{FA101B69-270A-4316-887D-553A24C425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8" name="Freeform 168">
                <a:extLst>
                  <a:ext uri="{FF2B5EF4-FFF2-40B4-BE49-F238E27FC236}">
                    <a16:creationId xmlns:a16="http://schemas.microsoft.com/office/drawing/2014/main" id="{0C8A4CE7-9CBD-4505-9E33-E4F8E98B70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89" name="Freeform 169">
                <a:extLst>
                  <a:ext uri="{FF2B5EF4-FFF2-40B4-BE49-F238E27FC236}">
                    <a16:creationId xmlns:a16="http://schemas.microsoft.com/office/drawing/2014/main" id="{FDB8B596-0C47-46BB-9269-2C2DCC5D0A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0" name="Freeform 170">
                <a:extLst>
                  <a:ext uri="{FF2B5EF4-FFF2-40B4-BE49-F238E27FC236}">
                    <a16:creationId xmlns:a16="http://schemas.microsoft.com/office/drawing/2014/main" id="{D57834ED-1D07-4137-9398-B7E2122B8D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1" name="Freeform 171">
                <a:extLst>
                  <a:ext uri="{FF2B5EF4-FFF2-40B4-BE49-F238E27FC236}">
                    <a16:creationId xmlns:a16="http://schemas.microsoft.com/office/drawing/2014/main" id="{41A766AC-C2F4-4379-A781-1E9F5A9E10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2" name="Freeform 172">
                <a:extLst>
                  <a:ext uri="{FF2B5EF4-FFF2-40B4-BE49-F238E27FC236}">
                    <a16:creationId xmlns:a16="http://schemas.microsoft.com/office/drawing/2014/main" id="{A9C6C2BB-6E7A-446A-AB55-8E81608097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3" name="Freeform 173">
                <a:extLst>
                  <a:ext uri="{FF2B5EF4-FFF2-40B4-BE49-F238E27FC236}">
                    <a16:creationId xmlns:a16="http://schemas.microsoft.com/office/drawing/2014/main" id="{E08FF6EC-7529-4047-8336-9860B0D73D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4" name="Freeform 174">
                <a:extLst>
                  <a:ext uri="{FF2B5EF4-FFF2-40B4-BE49-F238E27FC236}">
                    <a16:creationId xmlns:a16="http://schemas.microsoft.com/office/drawing/2014/main" id="{A1E1C1A3-5F23-48ED-A19B-3172C779CD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5" name="Freeform 175">
                <a:extLst>
                  <a:ext uri="{FF2B5EF4-FFF2-40B4-BE49-F238E27FC236}">
                    <a16:creationId xmlns:a16="http://schemas.microsoft.com/office/drawing/2014/main" id="{F78CF1E0-4038-408E-AA63-8FAC87B813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6" name="Freeform 176">
                <a:extLst>
                  <a:ext uri="{FF2B5EF4-FFF2-40B4-BE49-F238E27FC236}">
                    <a16:creationId xmlns:a16="http://schemas.microsoft.com/office/drawing/2014/main" id="{992B153B-C167-4AD6-9E98-3519233627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7" name="Freeform 177">
                <a:extLst>
                  <a:ext uri="{FF2B5EF4-FFF2-40B4-BE49-F238E27FC236}">
                    <a16:creationId xmlns:a16="http://schemas.microsoft.com/office/drawing/2014/main" id="{6E3E4EAA-4CD5-4769-B530-EA1603F87E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8" name="Freeform 178">
                <a:extLst>
                  <a:ext uri="{FF2B5EF4-FFF2-40B4-BE49-F238E27FC236}">
                    <a16:creationId xmlns:a16="http://schemas.microsoft.com/office/drawing/2014/main" id="{52806316-F709-47E2-B4F4-2F73DE941A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99" name="Freeform 188">
                <a:extLst>
                  <a:ext uri="{FF2B5EF4-FFF2-40B4-BE49-F238E27FC236}">
                    <a16:creationId xmlns:a16="http://schemas.microsoft.com/office/drawing/2014/main" id="{BBB5EE0C-7EEC-42C0-9D0C-14D4FE525A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0" name="Freeform 103">
                <a:extLst>
                  <a:ext uri="{FF2B5EF4-FFF2-40B4-BE49-F238E27FC236}">
                    <a16:creationId xmlns:a16="http://schemas.microsoft.com/office/drawing/2014/main" id="{8273754B-1CFB-4037-B88E-2C05A4E11C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01" name="Freeform 104">
                <a:extLst>
                  <a:ext uri="{FF2B5EF4-FFF2-40B4-BE49-F238E27FC236}">
                    <a16:creationId xmlns:a16="http://schemas.microsoft.com/office/drawing/2014/main" id="{819C845E-6674-42B7-8CF1-6EFD5783B317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548" name="Rectangle 596">
            <a:extLst>
              <a:ext uri="{FF2B5EF4-FFF2-40B4-BE49-F238E27FC236}">
                <a16:creationId xmlns:a16="http://schemas.microsoft.com/office/drawing/2014/main" id="{DCA4E019-E3D5-483A-BE9D-F24F7B4B01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88438" y="695413"/>
            <a:ext cx="238918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fr-FR" altLang="fr-FR" sz="800" b="1" dirty="0">
                <a:solidFill>
                  <a:schemeClr val="accent4"/>
                </a:solidFill>
                <a:latin typeface="Michelin Black" panose="02000000000000000000" pitchFamily="50" charset="0"/>
                <a:cs typeface="Aharoni" panose="02010803020104030203" pitchFamily="2" charset="-79"/>
              </a:rPr>
              <a:t>Enterprise &amp; portfolio</a:t>
            </a:r>
          </a:p>
        </p:txBody>
      </p:sp>
      <p:sp>
        <p:nvSpPr>
          <p:cNvPr id="550" name="Rectangle 596">
            <a:extLst>
              <a:ext uri="{FF2B5EF4-FFF2-40B4-BE49-F238E27FC236}">
                <a16:creationId xmlns:a16="http://schemas.microsoft.com/office/drawing/2014/main" id="{DF7D9BE0-9B7D-4B85-A745-0E8998B2A8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403" y="1765116"/>
            <a:ext cx="161378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fr-FR" altLang="fr-FR" sz="800" b="1" dirty="0">
                <a:solidFill>
                  <a:srgbClr val="00B87B"/>
                </a:solidFill>
                <a:latin typeface="Michelin Black" panose="02000000000000000000" pitchFamily="50" charset="0"/>
                <a:cs typeface="Aharoni" panose="02010803020104030203" pitchFamily="2" charset="-79"/>
              </a:rPr>
              <a:t>Platforms</a:t>
            </a:r>
          </a:p>
        </p:txBody>
      </p:sp>
      <p:sp>
        <p:nvSpPr>
          <p:cNvPr id="551" name="Rectangle 596">
            <a:extLst>
              <a:ext uri="{FF2B5EF4-FFF2-40B4-BE49-F238E27FC236}">
                <a16:creationId xmlns:a16="http://schemas.microsoft.com/office/drawing/2014/main" id="{8F53A1F7-54B2-4247-9DC1-3907E060B4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7421" y="1433438"/>
            <a:ext cx="136156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fr-FR" altLang="fr-FR" sz="800" b="1" dirty="0" err="1">
                <a:solidFill>
                  <a:srgbClr val="CCCC00"/>
                </a:solidFill>
                <a:latin typeface="Michelin Black" panose="02000000000000000000" pitchFamily="50" charset="0"/>
                <a:cs typeface="Aharoni" panose="02010803020104030203" pitchFamily="2" charset="-79"/>
              </a:rPr>
              <a:t>Market</a:t>
            </a:r>
            <a:endParaRPr lang="fr-FR" altLang="fr-FR" sz="800" b="1" dirty="0">
              <a:solidFill>
                <a:srgbClr val="CCCC00"/>
              </a:solidFill>
              <a:latin typeface="Michelin Black" panose="02000000000000000000" pitchFamily="50" charset="0"/>
              <a:cs typeface="Aharoni" panose="02010803020104030203" pitchFamily="2" charset="-79"/>
            </a:endParaRPr>
          </a:p>
          <a:p>
            <a:pPr algn="ctr" eaLnBrk="1" hangingPunct="1"/>
            <a:r>
              <a:rPr lang="fr-FR" altLang="fr-FR" sz="800" b="1" dirty="0">
                <a:solidFill>
                  <a:srgbClr val="CCCC00"/>
                </a:solidFill>
                <a:latin typeface="Michelin Black" panose="02000000000000000000" pitchFamily="50" charset="0"/>
                <a:cs typeface="Aharoni" panose="02010803020104030203" pitchFamily="2" charset="-79"/>
              </a:rPr>
              <a:t>End user</a:t>
            </a:r>
          </a:p>
        </p:txBody>
      </p:sp>
      <p:sp>
        <p:nvSpPr>
          <p:cNvPr id="553" name="ZoneTexte 552">
            <a:extLst>
              <a:ext uri="{FF2B5EF4-FFF2-40B4-BE49-F238E27FC236}">
                <a16:creationId xmlns:a16="http://schemas.microsoft.com/office/drawing/2014/main" id="{AF7ABBDF-2CB1-48BD-8949-CB237950D202}"/>
              </a:ext>
            </a:extLst>
          </p:cNvPr>
          <p:cNvSpPr txBox="1"/>
          <p:nvPr/>
        </p:nvSpPr>
        <p:spPr>
          <a:xfrm>
            <a:off x="5266581" y="2272843"/>
            <a:ext cx="1159935" cy="1947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Script" panose="030B0504020000000003" pitchFamily="66" charset="0"/>
              </a:rPr>
              <a:t>« FULL STACK »</a:t>
            </a:r>
          </a:p>
        </p:txBody>
      </p:sp>
      <p:sp>
        <p:nvSpPr>
          <p:cNvPr id="554" name="ZoneTexte 553">
            <a:extLst>
              <a:ext uri="{FF2B5EF4-FFF2-40B4-BE49-F238E27FC236}">
                <a16:creationId xmlns:a16="http://schemas.microsoft.com/office/drawing/2014/main" id="{69F568C5-4F5F-4A83-A9AF-E751BDCECFB9}"/>
              </a:ext>
            </a:extLst>
          </p:cNvPr>
          <p:cNvSpPr txBox="1"/>
          <p:nvPr/>
        </p:nvSpPr>
        <p:spPr>
          <a:xfrm>
            <a:off x="4956452" y="993763"/>
            <a:ext cx="587330" cy="1558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>
                <a:latin typeface="Michelin SemiBold" panose="02000000000000000000" pitchFamily="50" charset="0"/>
              </a:rPr>
              <a:t>PATTERNS</a:t>
            </a:r>
          </a:p>
        </p:txBody>
      </p:sp>
      <p:cxnSp>
        <p:nvCxnSpPr>
          <p:cNvPr id="558" name="Connecteur droit 557">
            <a:extLst>
              <a:ext uri="{FF2B5EF4-FFF2-40B4-BE49-F238E27FC236}">
                <a16:creationId xmlns:a16="http://schemas.microsoft.com/office/drawing/2014/main" id="{C8878456-22EC-4DFC-9FAA-F494677B37CB}"/>
              </a:ext>
            </a:extLst>
          </p:cNvPr>
          <p:cNvCxnSpPr>
            <a:cxnSpLocks/>
          </p:cNvCxnSpPr>
          <p:nvPr/>
        </p:nvCxnSpPr>
        <p:spPr>
          <a:xfrm flipV="1">
            <a:off x="3664880" y="1987231"/>
            <a:ext cx="347405" cy="70308"/>
          </a:xfrm>
          <a:prstGeom prst="line">
            <a:avLst/>
          </a:prstGeom>
          <a:ln w="25400">
            <a:solidFill>
              <a:srgbClr val="CCCC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Connecteur droit 558">
            <a:extLst>
              <a:ext uri="{FF2B5EF4-FFF2-40B4-BE49-F238E27FC236}">
                <a16:creationId xmlns:a16="http://schemas.microsoft.com/office/drawing/2014/main" id="{7A5CA53D-A7AD-41C3-BFB0-769F4F3762FF}"/>
              </a:ext>
            </a:extLst>
          </p:cNvPr>
          <p:cNvCxnSpPr>
            <a:cxnSpLocks/>
          </p:cNvCxnSpPr>
          <p:nvPr/>
        </p:nvCxnSpPr>
        <p:spPr>
          <a:xfrm>
            <a:off x="3134527" y="1781165"/>
            <a:ext cx="868590" cy="101665"/>
          </a:xfrm>
          <a:prstGeom prst="line">
            <a:avLst/>
          </a:prstGeom>
          <a:ln w="25400">
            <a:solidFill>
              <a:srgbClr val="CCCC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Connecteur droit 559">
            <a:extLst>
              <a:ext uri="{FF2B5EF4-FFF2-40B4-BE49-F238E27FC236}">
                <a16:creationId xmlns:a16="http://schemas.microsoft.com/office/drawing/2014/main" id="{2AD5035F-2753-41FB-A702-92CD954CC48B}"/>
              </a:ext>
            </a:extLst>
          </p:cNvPr>
          <p:cNvCxnSpPr>
            <a:cxnSpLocks/>
          </p:cNvCxnSpPr>
          <p:nvPr/>
        </p:nvCxnSpPr>
        <p:spPr>
          <a:xfrm>
            <a:off x="3839738" y="1364778"/>
            <a:ext cx="288800" cy="286988"/>
          </a:xfrm>
          <a:prstGeom prst="line">
            <a:avLst/>
          </a:prstGeom>
          <a:ln w="25400">
            <a:solidFill>
              <a:schemeClr val="accent4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3" name="ZoneTexte 782">
            <a:extLst>
              <a:ext uri="{FF2B5EF4-FFF2-40B4-BE49-F238E27FC236}">
                <a16:creationId xmlns:a16="http://schemas.microsoft.com/office/drawing/2014/main" id="{A979896E-F219-4EB9-B2D4-6052BFE91A78}"/>
              </a:ext>
            </a:extLst>
          </p:cNvPr>
          <p:cNvSpPr txBox="1"/>
          <p:nvPr/>
        </p:nvSpPr>
        <p:spPr>
          <a:xfrm>
            <a:off x="4977971" y="1077763"/>
            <a:ext cx="461532" cy="1558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>
                <a:latin typeface="Michelin SemiBold" panose="02000000000000000000" pitchFamily="50" charset="0"/>
              </a:rPr>
              <a:t>STYLES</a:t>
            </a:r>
          </a:p>
        </p:txBody>
      </p:sp>
      <p:cxnSp>
        <p:nvCxnSpPr>
          <p:cNvPr id="784" name="Connecteur droit 783">
            <a:extLst>
              <a:ext uri="{FF2B5EF4-FFF2-40B4-BE49-F238E27FC236}">
                <a16:creationId xmlns:a16="http://schemas.microsoft.com/office/drawing/2014/main" id="{0F5056CD-153F-4F76-A038-0E991DB9EF83}"/>
              </a:ext>
            </a:extLst>
          </p:cNvPr>
          <p:cNvCxnSpPr>
            <a:cxnSpLocks/>
            <a:stCxn id="736" idx="1"/>
          </p:cNvCxnSpPr>
          <p:nvPr/>
        </p:nvCxnSpPr>
        <p:spPr>
          <a:xfrm flipH="1">
            <a:off x="5143734" y="1320837"/>
            <a:ext cx="596152" cy="391377"/>
          </a:xfrm>
          <a:prstGeom prst="line">
            <a:avLst/>
          </a:prstGeom>
          <a:ln>
            <a:solidFill>
              <a:schemeClr val="tx2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86" name="Groupe 1415">
            <a:extLst>
              <a:ext uri="{FF2B5EF4-FFF2-40B4-BE49-F238E27FC236}">
                <a16:creationId xmlns:a16="http://schemas.microsoft.com/office/drawing/2014/main" id="{0529F406-431D-471E-846E-1A557C8E0C48}"/>
              </a:ext>
            </a:extLst>
          </p:cNvPr>
          <p:cNvGrpSpPr>
            <a:grpSpLocks/>
          </p:cNvGrpSpPr>
          <p:nvPr/>
        </p:nvGrpSpPr>
        <p:grpSpPr bwMode="auto">
          <a:xfrm>
            <a:off x="6247627" y="1048538"/>
            <a:ext cx="370735" cy="369808"/>
            <a:chOff x="2335613" y="3820290"/>
            <a:chExt cx="653238" cy="560864"/>
          </a:xfrm>
        </p:grpSpPr>
        <p:sp>
          <p:nvSpPr>
            <p:cNvPr id="787" name="Ellipse 786">
              <a:extLst>
                <a:ext uri="{FF2B5EF4-FFF2-40B4-BE49-F238E27FC236}">
                  <a16:creationId xmlns:a16="http://schemas.microsoft.com/office/drawing/2014/main" id="{730F13E6-013D-4F31-A4CC-4A2AAFA5B4C4}"/>
                </a:ext>
              </a:extLst>
            </p:cNvPr>
            <p:cNvSpPr/>
            <p:nvPr/>
          </p:nvSpPr>
          <p:spPr bwMode="auto">
            <a:xfrm>
              <a:off x="2335613" y="3917291"/>
              <a:ext cx="653238" cy="463863"/>
            </a:xfrm>
            <a:prstGeom prst="ellipse">
              <a:avLst/>
            </a:prstGeom>
            <a:solidFill>
              <a:schemeClr val="accent1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57150" prstMaterial="matte"/>
          </p:spPr>
          <p:txBody>
            <a:bodyPr lIns="0" tIns="0" rIns="0" bIns="0" anchor="ctr"/>
            <a:lstStyle/>
            <a:p>
              <a:pPr algn="ctr" defTabSz="3210641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54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788" name="_effect" descr="C:\Users\marc.h\Desktop\Schatten-TEST.png">
              <a:extLst>
                <a:ext uri="{FF2B5EF4-FFF2-40B4-BE49-F238E27FC236}">
                  <a16:creationId xmlns:a16="http://schemas.microsoft.com/office/drawing/2014/main" id="{3D4DD4DB-1C35-438D-9F52-9A14BD1AD1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441644" y="4131620"/>
              <a:ext cx="441180" cy="66490"/>
            </a:xfrm>
            <a:prstGeom prst="rect">
              <a:avLst/>
            </a:prstGeom>
            <a:solidFill>
              <a:schemeClr val="accent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789" name="Gruppieren 96">
              <a:extLst>
                <a:ext uri="{FF2B5EF4-FFF2-40B4-BE49-F238E27FC236}">
                  <a16:creationId xmlns:a16="http://schemas.microsoft.com/office/drawing/2014/main" id="{3255B9E0-DB3B-4856-B534-5FD940B7FB7B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828" name="Freeform 156">
                <a:extLst>
                  <a:ext uri="{FF2B5EF4-FFF2-40B4-BE49-F238E27FC236}">
                    <a16:creationId xmlns:a16="http://schemas.microsoft.com/office/drawing/2014/main" id="{4EF5F711-CB23-459B-8251-FC805091A2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9" name="Freeform 159">
                <a:extLst>
                  <a:ext uri="{FF2B5EF4-FFF2-40B4-BE49-F238E27FC236}">
                    <a16:creationId xmlns:a16="http://schemas.microsoft.com/office/drawing/2014/main" id="{459A2200-B076-45F5-B894-2A0BFF86D9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30" name="Freeform 160">
                <a:extLst>
                  <a:ext uri="{FF2B5EF4-FFF2-40B4-BE49-F238E27FC236}">
                    <a16:creationId xmlns:a16="http://schemas.microsoft.com/office/drawing/2014/main" id="{9D37180B-56FB-4CF9-A2E1-37A71D6571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31" name="Freeform 179">
                <a:extLst>
                  <a:ext uri="{FF2B5EF4-FFF2-40B4-BE49-F238E27FC236}">
                    <a16:creationId xmlns:a16="http://schemas.microsoft.com/office/drawing/2014/main" id="{F2698AD9-9D26-4FDD-BC1C-619C50DA77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32" name="Freeform 180">
                <a:extLst>
                  <a:ext uri="{FF2B5EF4-FFF2-40B4-BE49-F238E27FC236}">
                    <a16:creationId xmlns:a16="http://schemas.microsoft.com/office/drawing/2014/main" id="{4454E93A-9914-41D0-BA96-3D523EBA42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33" name="Freeform 181">
                <a:extLst>
                  <a:ext uri="{FF2B5EF4-FFF2-40B4-BE49-F238E27FC236}">
                    <a16:creationId xmlns:a16="http://schemas.microsoft.com/office/drawing/2014/main" id="{9E18AF8A-80DE-4D08-A95B-92A06E71DF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34" name="Freeform 182">
                <a:extLst>
                  <a:ext uri="{FF2B5EF4-FFF2-40B4-BE49-F238E27FC236}">
                    <a16:creationId xmlns:a16="http://schemas.microsoft.com/office/drawing/2014/main" id="{8037E876-67AC-42BF-8739-B5930E4B99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35" name="Freeform 183">
                <a:extLst>
                  <a:ext uri="{FF2B5EF4-FFF2-40B4-BE49-F238E27FC236}">
                    <a16:creationId xmlns:a16="http://schemas.microsoft.com/office/drawing/2014/main" id="{03265E66-415F-4BC1-A6D7-E4A4746450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36" name="Freeform 184">
                <a:extLst>
                  <a:ext uri="{FF2B5EF4-FFF2-40B4-BE49-F238E27FC236}">
                    <a16:creationId xmlns:a16="http://schemas.microsoft.com/office/drawing/2014/main" id="{08375981-BDE7-45EC-83DA-56FE3824BF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37" name="Freeform 185">
                <a:extLst>
                  <a:ext uri="{FF2B5EF4-FFF2-40B4-BE49-F238E27FC236}">
                    <a16:creationId xmlns:a16="http://schemas.microsoft.com/office/drawing/2014/main" id="{A48B6A01-D3D1-42AD-BCE0-0BEA6C8A38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38" name="Freeform 186">
                <a:extLst>
                  <a:ext uri="{FF2B5EF4-FFF2-40B4-BE49-F238E27FC236}">
                    <a16:creationId xmlns:a16="http://schemas.microsoft.com/office/drawing/2014/main" id="{0FF987E6-83D0-47D2-A263-A9E230991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39" name="Freeform 187">
                <a:extLst>
                  <a:ext uri="{FF2B5EF4-FFF2-40B4-BE49-F238E27FC236}">
                    <a16:creationId xmlns:a16="http://schemas.microsoft.com/office/drawing/2014/main" id="{73CA4D1A-BD48-4769-A183-CD66690D41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40" name="Freeform 157">
                <a:extLst>
                  <a:ext uri="{FF2B5EF4-FFF2-40B4-BE49-F238E27FC236}">
                    <a16:creationId xmlns:a16="http://schemas.microsoft.com/office/drawing/2014/main" id="{6A17F7F2-6249-4E2A-94F1-91A1287B67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41" name="Freeform 158">
                <a:extLst>
                  <a:ext uri="{FF2B5EF4-FFF2-40B4-BE49-F238E27FC236}">
                    <a16:creationId xmlns:a16="http://schemas.microsoft.com/office/drawing/2014/main" id="{7F7D1F7A-2768-4636-A39B-5AF5476ECF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42" name="Freeform 161">
                <a:extLst>
                  <a:ext uri="{FF2B5EF4-FFF2-40B4-BE49-F238E27FC236}">
                    <a16:creationId xmlns:a16="http://schemas.microsoft.com/office/drawing/2014/main" id="{69288545-B2F9-4867-82A1-BDCF97154C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43" name="Freeform 162">
                <a:extLst>
                  <a:ext uri="{FF2B5EF4-FFF2-40B4-BE49-F238E27FC236}">
                    <a16:creationId xmlns:a16="http://schemas.microsoft.com/office/drawing/2014/main" id="{47111FB4-387C-46EF-BE45-5F6776A8A1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44" name="Freeform 163">
                <a:extLst>
                  <a:ext uri="{FF2B5EF4-FFF2-40B4-BE49-F238E27FC236}">
                    <a16:creationId xmlns:a16="http://schemas.microsoft.com/office/drawing/2014/main" id="{DF8039C1-2D8A-4BA2-83F0-4927C1F54C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45" name="Freeform 164">
                <a:extLst>
                  <a:ext uri="{FF2B5EF4-FFF2-40B4-BE49-F238E27FC236}">
                    <a16:creationId xmlns:a16="http://schemas.microsoft.com/office/drawing/2014/main" id="{3BA59005-A142-4860-AF75-BB78F1D6FA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46" name="Freeform 165">
                <a:extLst>
                  <a:ext uri="{FF2B5EF4-FFF2-40B4-BE49-F238E27FC236}">
                    <a16:creationId xmlns:a16="http://schemas.microsoft.com/office/drawing/2014/main" id="{CAF5C769-A962-45BD-AB4E-83058FBC05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47" name="Freeform 166">
                <a:extLst>
                  <a:ext uri="{FF2B5EF4-FFF2-40B4-BE49-F238E27FC236}">
                    <a16:creationId xmlns:a16="http://schemas.microsoft.com/office/drawing/2014/main" id="{D2BC4D70-80A9-4B48-B5C2-D186E30388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48" name="Freeform 167">
                <a:extLst>
                  <a:ext uri="{FF2B5EF4-FFF2-40B4-BE49-F238E27FC236}">
                    <a16:creationId xmlns:a16="http://schemas.microsoft.com/office/drawing/2014/main" id="{1F2980E3-8D33-469A-8773-D6BB465C69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49" name="Freeform 168">
                <a:extLst>
                  <a:ext uri="{FF2B5EF4-FFF2-40B4-BE49-F238E27FC236}">
                    <a16:creationId xmlns:a16="http://schemas.microsoft.com/office/drawing/2014/main" id="{148569D4-7BDB-496F-A4E2-B91C07A694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50" name="Freeform 169">
                <a:extLst>
                  <a:ext uri="{FF2B5EF4-FFF2-40B4-BE49-F238E27FC236}">
                    <a16:creationId xmlns:a16="http://schemas.microsoft.com/office/drawing/2014/main" id="{692EFB9F-8BFB-4657-AAA7-5A1502DB01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51" name="Freeform 170">
                <a:extLst>
                  <a:ext uri="{FF2B5EF4-FFF2-40B4-BE49-F238E27FC236}">
                    <a16:creationId xmlns:a16="http://schemas.microsoft.com/office/drawing/2014/main" id="{B65260AD-DCAE-4384-884D-7076531BEA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52" name="Freeform 171">
                <a:extLst>
                  <a:ext uri="{FF2B5EF4-FFF2-40B4-BE49-F238E27FC236}">
                    <a16:creationId xmlns:a16="http://schemas.microsoft.com/office/drawing/2014/main" id="{D31BC782-ACDF-4FD3-8E36-0D932BC478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53" name="Freeform 172">
                <a:extLst>
                  <a:ext uri="{FF2B5EF4-FFF2-40B4-BE49-F238E27FC236}">
                    <a16:creationId xmlns:a16="http://schemas.microsoft.com/office/drawing/2014/main" id="{2BCD6C49-96C7-45E6-B118-A48D4DDFEA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54" name="Freeform 173">
                <a:extLst>
                  <a:ext uri="{FF2B5EF4-FFF2-40B4-BE49-F238E27FC236}">
                    <a16:creationId xmlns:a16="http://schemas.microsoft.com/office/drawing/2014/main" id="{F21BA05D-4EA9-4047-B705-79DA02CEB9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55" name="Freeform 174">
                <a:extLst>
                  <a:ext uri="{FF2B5EF4-FFF2-40B4-BE49-F238E27FC236}">
                    <a16:creationId xmlns:a16="http://schemas.microsoft.com/office/drawing/2014/main" id="{95ED376A-5F7D-403F-A7A8-480F311213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56" name="Freeform 175">
                <a:extLst>
                  <a:ext uri="{FF2B5EF4-FFF2-40B4-BE49-F238E27FC236}">
                    <a16:creationId xmlns:a16="http://schemas.microsoft.com/office/drawing/2014/main" id="{8108408C-428B-437B-A4B3-C92114A0AC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57" name="Freeform 176">
                <a:extLst>
                  <a:ext uri="{FF2B5EF4-FFF2-40B4-BE49-F238E27FC236}">
                    <a16:creationId xmlns:a16="http://schemas.microsoft.com/office/drawing/2014/main" id="{C4B9B83C-B287-446F-B53D-AB5957160C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58" name="Freeform 177">
                <a:extLst>
                  <a:ext uri="{FF2B5EF4-FFF2-40B4-BE49-F238E27FC236}">
                    <a16:creationId xmlns:a16="http://schemas.microsoft.com/office/drawing/2014/main" id="{C7EB1199-5D13-48FB-978A-C6BFFBE012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59" name="Freeform 178">
                <a:extLst>
                  <a:ext uri="{FF2B5EF4-FFF2-40B4-BE49-F238E27FC236}">
                    <a16:creationId xmlns:a16="http://schemas.microsoft.com/office/drawing/2014/main" id="{AB5F5FCD-BD54-4DF1-A31B-A3AED64EDE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60" name="Freeform 188">
                <a:extLst>
                  <a:ext uri="{FF2B5EF4-FFF2-40B4-BE49-F238E27FC236}">
                    <a16:creationId xmlns:a16="http://schemas.microsoft.com/office/drawing/2014/main" id="{A63DD229-155B-4978-91E3-28FD23D7DF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61" name="Freeform 103">
                <a:extLst>
                  <a:ext uri="{FF2B5EF4-FFF2-40B4-BE49-F238E27FC236}">
                    <a16:creationId xmlns:a16="http://schemas.microsoft.com/office/drawing/2014/main" id="{8DCFD2F3-9134-4EDA-99F9-5E1DD6FB91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62" name="Freeform 104">
                <a:extLst>
                  <a:ext uri="{FF2B5EF4-FFF2-40B4-BE49-F238E27FC236}">
                    <a16:creationId xmlns:a16="http://schemas.microsoft.com/office/drawing/2014/main" id="{9D1F0FA2-6C52-4F3B-9B39-CA2680AE3072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790" name="AutoShape 25">
              <a:extLst>
                <a:ext uri="{FF2B5EF4-FFF2-40B4-BE49-F238E27FC236}">
                  <a16:creationId xmlns:a16="http://schemas.microsoft.com/office/drawing/2014/main" id="{88AD4623-3480-498F-9251-03B1E6E27A16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923" y="3836717"/>
              <a:ext cx="158435" cy="327366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1" name="AutoShape 22">
              <a:extLst>
                <a:ext uri="{FF2B5EF4-FFF2-40B4-BE49-F238E27FC236}">
                  <a16:creationId xmlns:a16="http://schemas.microsoft.com/office/drawing/2014/main" id="{F41528E1-678E-429F-9800-D856DF29FF4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734" y="3820290"/>
              <a:ext cx="139748" cy="340273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792" name="Gruppieren 281">
              <a:extLst>
                <a:ext uri="{FF2B5EF4-FFF2-40B4-BE49-F238E27FC236}">
                  <a16:creationId xmlns:a16="http://schemas.microsoft.com/office/drawing/2014/main" id="{83C46E39-584C-4461-B9C7-FDC798FEDB77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793" name="Freeform 156">
                <a:extLst>
                  <a:ext uri="{FF2B5EF4-FFF2-40B4-BE49-F238E27FC236}">
                    <a16:creationId xmlns:a16="http://schemas.microsoft.com/office/drawing/2014/main" id="{0D308120-468A-4ED3-B89D-3E9145F716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4" name="Freeform 159">
                <a:extLst>
                  <a:ext uri="{FF2B5EF4-FFF2-40B4-BE49-F238E27FC236}">
                    <a16:creationId xmlns:a16="http://schemas.microsoft.com/office/drawing/2014/main" id="{BF597D7A-9CDE-496E-A5D0-10F99B91BE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5" name="Freeform 160">
                <a:extLst>
                  <a:ext uri="{FF2B5EF4-FFF2-40B4-BE49-F238E27FC236}">
                    <a16:creationId xmlns:a16="http://schemas.microsoft.com/office/drawing/2014/main" id="{7BF6D376-67AF-4070-899B-59431F779E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6" name="Freeform 179">
                <a:extLst>
                  <a:ext uri="{FF2B5EF4-FFF2-40B4-BE49-F238E27FC236}">
                    <a16:creationId xmlns:a16="http://schemas.microsoft.com/office/drawing/2014/main" id="{E1CBDC81-7414-4E16-A29E-3DFF1E4B0E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7" name="Freeform 180">
                <a:extLst>
                  <a:ext uri="{FF2B5EF4-FFF2-40B4-BE49-F238E27FC236}">
                    <a16:creationId xmlns:a16="http://schemas.microsoft.com/office/drawing/2014/main" id="{15043A21-B1FD-427C-B75E-A4E3C9A70D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8" name="Freeform 181">
                <a:extLst>
                  <a:ext uri="{FF2B5EF4-FFF2-40B4-BE49-F238E27FC236}">
                    <a16:creationId xmlns:a16="http://schemas.microsoft.com/office/drawing/2014/main" id="{D7241AA4-86B4-4AD6-B06A-540D9F15D9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9" name="Freeform 182">
                <a:extLst>
                  <a:ext uri="{FF2B5EF4-FFF2-40B4-BE49-F238E27FC236}">
                    <a16:creationId xmlns:a16="http://schemas.microsoft.com/office/drawing/2014/main" id="{9844280A-2000-4E3E-9AF6-E7453D2FE0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0" name="Freeform 183">
                <a:extLst>
                  <a:ext uri="{FF2B5EF4-FFF2-40B4-BE49-F238E27FC236}">
                    <a16:creationId xmlns:a16="http://schemas.microsoft.com/office/drawing/2014/main" id="{93D82198-AA65-42A2-95FE-142E378E71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1" name="Freeform 184">
                <a:extLst>
                  <a:ext uri="{FF2B5EF4-FFF2-40B4-BE49-F238E27FC236}">
                    <a16:creationId xmlns:a16="http://schemas.microsoft.com/office/drawing/2014/main" id="{E689CE70-E11F-4B85-9DB1-FD5907662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2" name="Freeform 185">
                <a:extLst>
                  <a:ext uri="{FF2B5EF4-FFF2-40B4-BE49-F238E27FC236}">
                    <a16:creationId xmlns:a16="http://schemas.microsoft.com/office/drawing/2014/main" id="{278B3835-5B1A-4ED0-A3A6-811D4B84B2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3" name="Freeform 186">
                <a:extLst>
                  <a:ext uri="{FF2B5EF4-FFF2-40B4-BE49-F238E27FC236}">
                    <a16:creationId xmlns:a16="http://schemas.microsoft.com/office/drawing/2014/main" id="{58F47701-DAF3-4D45-BF25-84818719A2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4" name="Freeform 187">
                <a:extLst>
                  <a:ext uri="{FF2B5EF4-FFF2-40B4-BE49-F238E27FC236}">
                    <a16:creationId xmlns:a16="http://schemas.microsoft.com/office/drawing/2014/main" id="{737FB545-F21B-4FCC-99D7-C30B1233EA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5" name="Freeform 157">
                <a:extLst>
                  <a:ext uri="{FF2B5EF4-FFF2-40B4-BE49-F238E27FC236}">
                    <a16:creationId xmlns:a16="http://schemas.microsoft.com/office/drawing/2014/main" id="{2F42B21E-7CE1-4FE5-A917-744D5C7A5C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6" name="Freeform 158">
                <a:extLst>
                  <a:ext uri="{FF2B5EF4-FFF2-40B4-BE49-F238E27FC236}">
                    <a16:creationId xmlns:a16="http://schemas.microsoft.com/office/drawing/2014/main" id="{D4FE6605-C336-4D3D-93CC-4349526207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7" name="Freeform 161">
                <a:extLst>
                  <a:ext uri="{FF2B5EF4-FFF2-40B4-BE49-F238E27FC236}">
                    <a16:creationId xmlns:a16="http://schemas.microsoft.com/office/drawing/2014/main" id="{BB22A3EF-7889-496F-B86B-F32BC75FCE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8" name="Freeform 162">
                <a:extLst>
                  <a:ext uri="{FF2B5EF4-FFF2-40B4-BE49-F238E27FC236}">
                    <a16:creationId xmlns:a16="http://schemas.microsoft.com/office/drawing/2014/main" id="{055031C4-3003-4316-90EA-A7047116AF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9" name="Freeform 163">
                <a:extLst>
                  <a:ext uri="{FF2B5EF4-FFF2-40B4-BE49-F238E27FC236}">
                    <a16:creationId xmlns:a16="http://schemas.microsoft.com/office/drawing/2014/main" id="{FC02E9D7-51AD-4C68-B752-441F0D707A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0" name="Freeform 164">
                <a:extLst>
                  <a:ext uri="{FF2B5EF4-FFF2-40B4-BE49-F238E27FC236}">
                    <a16:creationId xmlns:a16="http://schemas.microsoft.com/office/drawing/2014/main" id="{D091410E-8DE5-404F-B279-54BF4DAFAB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1" name="Freeform 165">
                <a:extLst>
                  <a:ext uri="{FF2B5EF4-FFF2-40B4-BE49-F238E27FC236}">
                    <a16:creationId xmlns:a16="http://schemas.microsoft.com/office/drawing/2014/main" id="{E071991B-3C91-4B42-B1C9-5F8122EAF2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2" name="Freeform 166">
                <a:extLst>
                  <a:ext uri="{FF2B5EF4-FFF2-40B4-BE49-F238E27FC236}">
                    <a16:creationId xmlns:a16="http://schemas.microsoft.com/office/drawing/2014/main" id="{9E5EED93-0B84-407C-9F9D-EDC6874D72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3" name="Freeform 167">
                <a:extLst>
                  <a:ext uri="{FF2B5EF4-FFF2-40B4-BE49-F238E27FC236}">
                    <a16:creationId xmlns:a16="http://schemas.microsoft.com/office/drawing/2014/main" id="{615A3349-DCCC-4FD5-8109-65E3191561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4" name="Freeform 168">
                <a:extLst>
                  <a:ext uri="{FF2B5EF4-FFF2-40B4-BE49-F238E27FC236}">
                    <a16:creationId xmlns:a16="http://schemas.microsoft.com/office/drawing/2014/main" id="{90C3D78C-B134-43AA-B820-20AC628F25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5" name="Freeform 169">
                <a:extLst>
                  <a:ext uri="{FF2B5EF4-FFF2-40B4-BE49-F238E27FC236}">
                    <a16:creationId xmlns:a16="http://schemas.microsoft.com/office/drawing/2014/main" id="{24C6B576-19F1-492D-845F-359FCC8AA6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6" name="Freeform 170">
                <a:extLst>
                  <a:ext uri="{FF2B5EF4-FFF2-40B4-BE49-F238E27FC236}">
                    <a16:creationId xmlns:a16="http://schemas.microsoft.com/office/drawing/2014/main" id="{F64A3EB2-DCD5-432E-A342-1C71B2CB9F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7" name="Freeform 171">
                <a:extLst>
                  <a:ext uri="{FF2B5EF4-FFF2-40B4-BE49-F238E27FC236}">
                    <a16:creationId xmlns:a16="http://schemas.microsoft.com/office/drawing/2014/main" id="{C0913678-CDC7-4C59-A1E2-EDEA5B10EE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8" name="Freeform 172">
                <a:extLst>
                  <a:ext uri="{FF2B5EF4-FFF2-40B4-BE49-F238E27FC236}">
                    <a16:creationId xmlns:a16="http://schemas.microsoft.com/office/drawing/2014/main" id="{85ACEB8E-E951-4AE6-B38D-E05045E177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9" name="Freeform 173">
                <a:extLst>
                  <a:ext uri="{FF2B5EF4-FFF2-40B4-BE49-F238E27FC236}">
                    <a16:creationId xmlns:a16="http://schemas.microsoft.com/office/drawing/2014/main" id="{2D14AA5C-4277-4955-A0A2-9C33198AB8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0" name="Freeform 174">
                <a:extLst>
                  <a:ext uri="{FF2B5EF4-FFF2-40B4-BE49-F238E27FC236}">
                    <a16:creationId xmlns:a16="http://schemas.microsoft.com/office/drawing/2014/main" id="{F6541712-3E38-4A70-A3E7-B2FABFC160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1" name="Freeform 175">
                <a:extLst>
                  <a:ext uri="{FF2B5EF4-FFF2-40B4-BE49-F238E27FC236}">
                    <a16:creationId xmlns:a16="http://schemas.microsoft.com/office/drawing/2014/main" id="{256A8A2C-E707-482D-88A1-5C91FD310F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2" name="Freeform 176">
                <a:extLst>
                  <a:ext uri="{FF2B5EF4-FFF2-40B4-BE49-F238E27FC236}">
                    <a16:creationId xmlns:a16="http://schemas.microsoft.com/office/drawing/2014/main" id="{692C0C0C-8F06-48C3-BF5F-7F88669CB4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3" name="Freeform 177">
                <a:extLst>
                  <a:ext uri="{FF2B5EF4-FFF2-40B4-BE49-F238E27FC236}">
                    <a16:creationId xmlns:a16="http://schemas.microsoft.com/office/drawing/2014/main" id="{288FAD84-C661-4F4D-A245-EB9C19D0FF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4" name="Freeform 178">
                <a:extLst>
                  <a:ext uri="{FF2B5EF4-FFF2-40B4-BE49-F238E27FC236}">
                    <a16:creationId xmlns:a16="http://schemas.microsoft.com/office/drawing/2014/main" id="{0E2524D4-070F-454F-A56D-6A12B6F378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5" name="Freeform 188">
                <a:extLst>
                  <a:ext uri="{FF2B5EF4-FFF2-40B4-BE49-F238E27FC236}">
                    <a16:creationId xmlns:a16="http://schemas.microsoft.com/office/drawing/2014/main" id="{A94CAB14-35F2-4F5A-9C14-EAE44E00CB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6" name="Freeform 103">
                <a:extLst>
                  <a:ext uri="{FF2B5EF4-FFF2-40B4-BE49-F238E27FC236}">
                    <a16:creationId xmlns:a16="http://schemas.microsoft.com/office/drawing/2014/main" id="{4F6F9FCE-56EF-470D-BBE9-6EFD7B2DEA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7" name="Freeform 104">
                <a:extLst>
                  <a:ext uri="{FF2B5EF4-FFF2-40B4-BE49-F238E27FC236}">
                    <a16:creationId xmlns:a16="http://schemas.microsoft.com/office/drawing/2014/main" id="{200838C9-594E-4504-9828-29FBA512C116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863" name="Rectangle 596">
            <a:extLst>
              <a:ext uri="{FF2B5EF4-FFF2-40B4-BE49-F238E27FC236}">
                <a16:creationId xmlns:a16="http://schemas.microsoft.com/office/drawing/2014/main" id="{4302B69F-5BA7-46EC-BF64-D4E5E04162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4464" y="1153455"/>
            <a:ext cx="136156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175125" fontAlgn="base">
              <a:spcBef>
                <a:spcPct val="0"/>
              </a:spcBef>
              <a:spcAft>
                <a:spcPct val="0"/>
              </a:spcAft>
              <a:defRPr sz="8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fr-FR" altLang="fr-FR" sz="800" b="1" dirty="0">
                <a:solidFill>
                  <a:schemeClr val="accent1"/>
                </a:solidFill>
                <a:latin typeface="Michelin Black" panose="02000000000000000000" pitchFamily="50" charset="0"/>
                <a:cs typeface="Aharoni" panose="02010803020104030203" pitchFamily="2" charset="-79"/>
              </a:rPr>
              <a:t>Experts</a:t>
            </a:r>
          </a:p>
        </p:txBody>
      </p:sp>
      <p:grpSp>
        <p:nvGrpSpPr>
          <p:cNvPr id="864" name="Groupe 1415">
            <a:extLst>
              <a:ext uri="{FF2B5EF4-FFF2-40B4-BE49-F238E27FC236}">
                <a16:creationId xmlns:a16="http://schemas.microsoft.com/office/drawing/2014/main" id="{2936256C-B3E2-45A5-B2DB-2CA98EC17B70}"/>
              </a:ext>
            </a:extLst>
          </p:cNvPr>
          <p:cNvGrpSpPr>
            <a:grpSpLocks/>
          </p:cNvGrpSpPr>
          <p:nvPr/>
        </p:nvGrpSpPr>
        <p:grpSpPr bwMode="auto">
          <a:xfrm>
            <a:off x="6184575" y="1634477"/>
            <a:ext cx="370735" cy="369808"/>
            <a:chOff x="2335613" y="3820290"/>
            <a:chExt cx="653238" cy="560864"/>
          </a:xfrm>
        </p:grpSpPr>
        <p:sp>
          <p:nvSpPr>
            <p:cNvPr id="865" name="Ellipse 864">
              <a:extLst>
                <a:ext uri="{FF2B5EF4-FFF2-40B4-BE49-F238E27FC236}">
                  <a16:creationId xmlns:a16="http://schemas.microsoft.com/office/drawing/2014/main" id="{47BF0613-A3A8-4340-AEA5-B995C59CB699}"/>
                </a:ext>
              </a:extLst>
            </p:cNvPr>
            <p:cNvSpPr/>
            <p:nvPr/>
          </p:nvSpPr>
          <p:spPr bwMode="auto">
            <a:xfrm>
              <a:off x="2335613" y="3917291"/>
              <a:ext cx="653238" cy="463863"/>
            </a:xfrm>
            <a:prstGeom prst="ellipse">
              <a:avLst/>
            </a:prstGeom>
            <a:solidFill>
              <a:srgbClr val="00B050"/>
            </a:solidFill>
            <a:ln w="76200">
              <a:noFill/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57150" prstMaterial="matte"/>
          </p:spPr>
          <p:txBody>
            <a:bodyPr lIns="0" tIns="0" rIns="0" bIns="0" anchor="ctr"/>
            <a:lstStyle/>
            <a:p>
              <a:pPr algn="ctr" defTabSz="3210641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54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866" name="_effect" descr="C:\Users\marc.h\Desktop\Schatten-TEST.png">
              <a:extLst>
                <a:ext uri="{FF2B5EF4-FFF2-40B4-BE49-F238E27FC236}">
                  <a16:creationId xmlns:a16="http://schemas.microsoft.com/office/drawing/2014/main" id="{B8143A1E-ECAF-4BE6-AFD5-5DFF08762E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441644" y="4131620"/>
              <a:ext cx="441180" cy="66490"/>
            </a:xfrm>
            <a:prstGeom prst="rect">
              <a:avLst/>
            </a:prstGeom>
            <a:solidFill>
              <a:srgbClr val="00B050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867" name="Gruppieren 96">
              <a:extLst>
                <a:ext uri="{FF2B5EF4-FFF2-40B4-BE49-F238E27FC236}">
                  <a16:creationId xmlns:a16="http://schemas.microsoft.com/office/drawing/2014/main" id="{02AD47AC-9D1F-4B2F-94F6-B6F93A04E423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906" name="Freeform 156">
                <a:extLst>
                  <a:ext uri="{FF2B5EF4-FFF2-40B4-BE49-F238E27FC236}">
                    <a16:creationId xmlns:a16="http://schemas.microsoft.com/office/drawing/2014/main" id="{5C2F1674-6BAD-4BD3-8CB1-A5D6DDC1B1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07" name="Freeform 159">
                <a:extLst>
                  <a:ext uri="{FF2B5EF4-FFF2-40B4-BE49-F238E27FC236}">
                    <a16:creationId xmlns:a16="http://schemas.microsoft.com/office/drawing/2014/main" id="{424C9A95-7407-43BA-AC6B-692166CFFA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08" name="Freeform 160">
                <a:extLst>
                  <a:ext uri="{FF2B5EF4-FFF2-40B4-BE49-F238E27FC236}">
                    <a16:creationId xmlns:a16="http://schemas.microsoft.com/office/drawing/2014/main" id="{D954310E-D569-437D-B082-9C51FEA96F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09" name="Freeform 179">
                <a:extLst>
                  <a:ext uri="{FF2B5EF4-FFF2-40B4-BE49-F238E27FC236}">
                    <a16:creationId xmlns:a16="http://schemas.microsoft.com/office/drawing/2014/main" id="{4863D6FC-34F6-4A36-942A-C84648C3D2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10" name="Freeform 180">
                <a:extLst>
                  <a:ext uri="{FF2B5EF4-FFF2-40B4-BE49-F238E27FC236}">
                    <a16:creationId xmlns:a16="http://schemas.microsoft.com/office/drawing/2014/main" id="{194D8EF3-E9AD-481B-8968-D8D978B745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11" name="Freeform 181">
                <a:extLst>
                  <a:ext uri="{FF2B5EF4-FFF2-40B4-BE49-F238E27FC236}">
                    <a16:creationId xmlns:a16="http://schemas.microsoft.com/office/drawing/2014/main" id="{738F04C2-8BEE-4AA8-A01D-C281CEC605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12" name="Freeform 182">
                <a:extLst>
                  <a:ext uri="{FF2B5EF4-FFF2-40B4-BE49-F238E27FC236}">
                    <a16:creationId xmlns:a16="http://schemas.microsoft.com/office/drawing/2014/main" id="{F0557278-3BC1-4BA8-9ECC-A5AD419D1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13" name="Freeform 183">
                <a:extLst>
                  <a:ext uri="{FF2B5EF4-FFF2-40B4-BE49-F238E27FC236}">
                    <a16:creationId xmlns:a16="http://schemas.microsoft.com/office/drawing/2014/main" id="{49F8D0D6-BD63-453D-98CE-6EC647B8AC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14" name="Freeform 184">
                <a:extLst>
                  <a:ext uri="{FF2B5EF4-FFF2-40B4-BE49-F238E27FC236}">
                    <a16:creationId xmlns:a16="http://schemas.microsoft.com/office/drawing/2014/main" id="{69B7E32F-5366-423D-891F-33983B8A79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15" name="Freeform 185">
                <a:extLst>
                  <a:ext uri="{FF2B5EF4-FFF2-40B4-BE49-F238E27FC236}">
                    <a16:creationId xmlns:a16="http://schemas.microsoft.com/office/drawing/2014/main" id="{58B52361-A5C0-4D7A-9623-366EEA228F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16" name="Freeform 186">
                <a:extLst>
                  <a:ext uri="{FF2B5EF4-FFF2-40B4-BE49-F238E27FC236}">
                    <a16:creationId xmlns:a16="http://schemas.microsoft.com/office/drawing/2014/main" id="{35E6669C-52B3-4E05-A798-45BDF2533C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17" name="Freeform 187">
                <a:extLst>
                  <a:ext uri="{FF2B5EF4-FFF2-40B4-BE49-F238E27FC236}">
                    <a16:creationId xmlns:a16="http://schemas.microsoft.com/office/drawing/2014/main" id="{B0FCF9A6-DFD1-4034-ACB8-C93B5CD205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18" name="Freeform 157">
                <a:extLst>
                  <a:ext uri="{FF2B5EF4-FFF2-40B4-BE49-F238E27FC236}">
                    <a16:creationId xmlns:a16="http://schemas.microsoft.com/office/drawing/2014/main" id="{5F544BC4-9D5F-46AB-A52D-932653AAC8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19" name="Freeform 158">
                <a:extLst>
                  <a:ext uri="{FF2B5EF4-FFF2-40B4-BE49-F238E27FC236}">
                    <a16:creationId xmlns:a16="http://schemas.microsoft.com/office/drawing/2014/main" id="{B44172E4-4121-4EC6-A3DF-B696B503C4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20" name="Freeform 161">
                <a:extLst>
                  <a:ext uri="{FF2B5EF4-FFF2-40B4-BE49-F238E27FC236}">
                    <a16:creationId xmlns:a16="http://schemas.microsoft.com/office/drawing/2014/main" id="{48CA5F68-71CD-4495-A286-DA8A1295B5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21" name="Freeform 162">
                <a:extLst>
                  <a:ext uri="{FF2B5EF4-FFF2-40B4-BE49-F238E27FC236}">
                    <a16:creationId xmlns:a16="http://schemas.microsoft.com/office/drawing/2014/main" id="{68CC0C48-CB92-40F8-A9FF-3F8B11627A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22" name="Freeform 163">
                <a:extLst>
                  <a:ext uri="{FF2B5EF4-FFF2-40B4-BE49-F238E27FC236}">
                    <a16:creationId xmlns:a16="http://schemas.microsoft.com/office/drawing/2014/main" id="{69E57676-3FEF-4242-93D8-39EC48B7D3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23" name="Freeform 164">
                <a:extLst>
                  <a:ext uri="{FF2B5EF4-FFF2-40B4-BE49-F238E27FC236}">
                    <a16:creationId xmlns:a16="http://schemas.microsoft.com/office/drawing/2014/main" id="{7C279433-650B-4F35-9BAE-A175D21365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24" name="Freeform 165">
                <a:extLst>
                  <a:ext uri="{FF2B5EF4-FFF2-40B4-BE49-F238E27FC236}">
                    <a16:creationId xmlns:a16="http://schemas.microsoft.com/office/drawing/2014/main" id="{4C9E07CF-272C-4FB1-B3E9-89B6F539A3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25" name="Freeform 166">
                <a:extLst>
                  <a:ext uri="{FF2B5EF4-FFF2-40B4-BE49-F238E27FC236}">
                    <a16:creationId xmlns:a16="http://schemas.microsoft.com/office/drawing/2014/main" id="{C58B4550-55A8-4D8E-9F12-E7672AB926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26" name="Freeform 167">
                <a:extLst>
                  <a:ext uri="{FF2B5EF4-FFF2-40B4-BE49-F238E27FC236}">
                    <a16:creationId xmlns:a16="http://schemas.microsoft.com/office/drawing/2014/main" id="{2880C433-6E01-4498-8A4A-BCA41F69E9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27" name="Freeform 168">
                <a:extLst>
                  <a:ext uri="{FF2B5EF4-FFF2-40B4-BE49-F238E27FC236}">
                    <a16:creationId xmlns:a16="http://schemas.microsoft.com/office/drawing/2014/main" id="{2CAB34C9-62B7-4120-8E45-924AADC6FC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28" name="Freeform 169">
                <a:extLst>
                  <a:ext uri="{FF2B5EF4-FFF2-40B4-BE49-F238E27FC236}">
                    <a16:creationId xmlns:a16="http://schemas.microsoft.com/office/drawing/2014/main" id="{C9D94C31-23A9-4CE8-8F58-8336077E22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29" name="Freeform 170">
                <a:extLst>
                  <a:ext uri="{FF2B5EF4-FFF2-40B4-BE49-F238E27FC236}">
                    <a16:creationId xmlns:a16="http://schemas.microsoft.com/office/drawing/2014/main" id="{7AE1551E-E548-4FA9-8440-1FBBECC527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30" name="Freeform 171">
                <a:extLst>
                  <a:ext uri="{FF2B5EF4-FFF2-40B4-BE49-F238E27FC236}">
                    <a16:creationId xmlns:a16="http://schemas.microsoft.com/office/drawing/2014/main" id="{964A2DE0-333D-4EF3-A464-631DC74F16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31" name="Freeform 172">
                <a:extLst>
                  <a:ext uri="{FF2B5EF4-FFF2-40B4-BE49-F238E27FC236}">
                    <a16:creationId xmlns:a16="http://schemas.microsoft.com/office/drawing/2014/main" id="{C26B24EB-AB85-4A3A-917B-D7487D4948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32" name="Freeform 173">
                <a:extLst>
                  <a:ext uri="{FF2B5EF4-FFF2-40B4-BE49-F238E27FC236}">
                    <a16:creationId xmlns:a16="http://schemas.microsoft.com/office/drawing/2014/main" id="{9099A7F8-581F-455F-8726-2C54CE2EBB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33" name="Freeform 174">
                <a:extLst>
                  <a:ext uri="{FF2B5EF4-FFF2-40B4-BE49-F238E27FC236}">
                    <a16:creationId xmlns:a16="http://schemas.microsoft.com/office/drawing/2014/main" id="{073AD5C8-E3A5-459B-BEB0-A8150FAEE7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34" name="Freeform 175">
                <a:extLst>
                  <a:ext uri="{FF2B5EF4-FFF2-40B4-BE49-F238E27FC236}">
                    <a16:creationId xmlns:a16="http://schemas.microsoft.com/office/drawing/2014/main" id="{C49BA826-87EE-4D17-BAAF-F40EBA2132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35" name="Freeform 176">
                <a:extLst>
                  <a:ext uri="{FF2B5EF4-FFF2-40B4-BE49-F238E27FC236}">
                    <a16:creationId xmlns:a16="http://schemas.microsoft.com/office/drawing/2014/main" id="{7D0F51B2-BA35-436B-A835-DEF2A275C0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36" name="Freeform 177">
                <a:extLst>
                  <a:ext uri="{FF2B5EF4-FFF2-40B4-BE49-F238E27FC236}">
                    <a16:creationId xmlns:a16="http://schemas.microsoft.com/office/drawing/2014/main" id="{09E6BCAF-D7A3-422F-9072-CD8473AD8D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37" name="Freeform 178">
                <a:extLst>
                  <a:ext uri="{FF2B5EF4-FFF2-40B4-BE49-F238E27FC236}">
                    <a16:creationId xmlns:a16="http://schemas.microsoft.com/office/drawing/2014/main" id="{8B70869D-FAA2-4912-8F5E-5D9900C3DC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38" name="Freeform 188">
                <a:extLst>
                  <a:ext uri="{FF2B5EF4-FFF2-40B4-BE49-F238E27FC236}">
                    <a16:creationId xmlns:a16="http://schemas.microsoft.com/office/drawing/2014/main" id="{17844A22-5F54-4B11-889B-B7B0C9E621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39" name="Freeform 103">
                <a:extLst>
                  <a:ext uri="{FF2B5EF4-FFF2-40B4-BE49-F238E27FC236}">
                    <a16:creationId xmlns:a16="http://schemas.microsoft.com/office/drawing/2014/main" id="{4F4D80E0-B26F-492C-AD66-AF3A273BF6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40" name="Freeform 104">
                <a:extLst>
                  <a:ext uri="{FF2B5EF4-FFF2-40B4-BE49-F238E27FC236}">
                    <a16:creationId xmlns:a16="http://schemas.microsoft.com/office/drawing/2014/main" id="{E03824CA-AECB-4AFD-9C56-6FCD37116B30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868" name="AutoShape 25">
              <a:extLst>
                <a:ext uri="{FF2B5EF4-FFF2-40B4-BE49-F238E27FC236}">
                  <a16:creationId xmlns:a16="http://schemas.microsoft.com/office/drawing/2014/main" id="{531EC970-7406-4DDE-8CFC-CD305F652316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923" y="3836717"/>
              <a:ext cx="158435" cy="327366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69" name="AutoShape 22">
              <a:extLst>
                <a:ext uri="{FF2B5EF4-FFF2-40B4-BE49-F238E27FC236}">
                  <a16:creationId xmlns:a16="http://schemas.microsoft.com/office/drawing/2014/main" id="{ED5C4003-A9F8-4E63-ADF6-06ECA01A58E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734" y="3820290"/>
              <a:ext cx="139748" cy="340273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870" name="Gruppieren 281">
              <a:extLst>
                <a:ext uri="{FF2B5EF4-FFF2-40B4-BE49-F238E27FC236}">
                  <a16:creationId xmlns:a16="http://schemas.microsoft.com/office/drawing/2014/main" id="{1CC1BA8B-6C42-459B-8358-A2496EE5C1EA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871" name="Freeform 156">
                <a:extLst>
                  <a:ext uri="{FF2B5EF4-FFF2-40B4-BE49-F238E27FC236}">
                    <a16:creationId xmlns:a16="http://schemas.microsoft.com/office/drawing/2014/main" id="{74A05B30-C813-4CA2-800A-BFEC8F736B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72" name="Freeform 159">
                <a:extLst>
                  <a:ext uri="{FF2B5EF4-FFF2-40B4-BE49-F238E27FC236}">
                    <a16:creationId xmlns:a16="http://schemas.microsoft.com/office/drawing/2014/main" id="{49A1881E-B765-43C6-930B-8380B3E294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73" name="Freeform 160">
                <a:extLst>
                  <a:ext uri="{FF2B5EF4-FFF2-40B4-BE49-F238E27FC236}">
                    <a16:creationId xmlns:a16="http://schemas.microsoft.com/office/drawing/2014/main" id="{435A9EA5-E519-44FD-B486-A80B56A9A6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74" name="Freeform 179">
                <a:extLst>
                  <a:ext uri="{FF2B5EF4-FFF2-40B4-BE49-F238E27FC236}">
                    <a16:creationId xmlns:a16="http://schemas.microsoft.com/office/drawing/2014/main" id="{90040D2D-14A7-428B-B02C-0CF8D79EC1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75" name="Freeform 180">
                <a:extLst>
                  <a:ext uri="{FF2B5EF4-FFF2-40B4-BE49-F238E27FC236}">
                    <a16:creationId xmlns:a16="http://schemas.microsoft.com/office/drawing/2014/main" id="{0A47072B-2FA6-4A24-8B21-219D17D400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76" name="Freeform 181">
                <a:extLst>
                  <a:ext uri="{FF2B5EF4-FFF2-40B4-BE49-F238E27FC236}">
                    <a16:creationId xmlns:a16="http://schemas.microsoft.com/office/drawing/2014/main" id="{139D24CA-5FDB-48CD-98CD-E670667179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77" name="Freeform 182">
                <a:extLst>
                  <a:ext uri="{FF2B5EF4-FFF2-40B4-BE49-F238E27FC236}">
                    <a16:creationId xmlns:a16="http://schemas.microsoft.com/office/drawing/2014/main" id="{A2BB5091-43CA-4AD0-ADC3-8B59865F47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78" name="Freeform 183">
                <a:extLst>
                  <a:ext uri="{FF2B5EF4-FFF2-40B4-BE49-F238E27FC236}">
                    <a16:creationId xmlns:a16="http://schemas.microsoft.com/office/drawing/2014/main" id="{03C0E63E-0B1A-402A-91F7-D594D36D86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79" name="Freeform 184">
                <a:extLst>
                  <a:ext uri="{FF2B5EF4-FFF2-40B4-BE49-F238E27FC236}">
                    <a16:creationId xmlns:a16="http://schemas.microsoft.com/office/drawing/2014/main" id="{0743C140-AAAA-4217-80B8-4BEFDE41D6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80" name="Freeform 185">
                <a:extLst>
                  <a:ext uri="{FF2B5EF4-FFF2-40B4-BE49-F238E27FC236}">
                    <a16:creationId xmlns:a16="http://schemas.microsoft.com/office/drawing/2014/main" id="{C253A207-EF27-48F7-B351-4A5F766F07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81" name="Freeform 186">
                <a:extLst>
                  <a:ext uri="{FF2B5EF4-FFF2-40B4-BE49-F238E27FC236}">
                    <a16:creationId xmlns:a16="http://schemas.microsoft.com/office/drawing/2014/main" id="{F1664405-B46C-434E-8A8D-12752D94B1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82" name="Freeform 187">
                <a:extLst>
                  <a:ext uri="{FF2B5EF4-FFF2-40B4-BE49-F238E27FC236}">
                    <a16:creationId xmlns:a16="http://schemas.microsoft.com/office/drawing/2014/main" id="{B6FE6039-4B0A-4CDD-99D0-6CF87C9AB7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83" name="Freeform 157">
                <a:extLst>
                  <a:ext uri="{FF2B5EF4-FFF2-40B4-BE49-F238E27FC236}">
                    <a16:creationId xmlns:a16="http://schemas.microsoft.com/office/drawing/2014/main" id="{C8E2E990-2E54-4507-BC3C-7AA3DECF66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84" name="Freeform 158">
                <a:extLst>
                  <a:ext uri="{FF2B5EF4-FFF2-40B4-BE49-F238E27FC236}">
                    <a16:creationId xmlns:a16="http://schemas.microsoft.com/office/drawing/2014/main" id="{E87D2B58-4474-4D60-AF55-AD7E6FC1DF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85" name="Freeform 161">
                <a:extLst>
                  <a:ext uri="{FF2B5EF4-FFF2-40B4-BE49-F238E27FC236}">
                    <a16:creationId xmlns:a16="http://schemas.microsoft.com/office/drawing/2014/main" id="{3C60EC01-4A85-412A-81D4-F472420A5D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86" name="Freeform 162">
                <a:extLst>
                  <a:ext uri="{FF2B5EF4-FFF2-40B4-BE49-F238E27FC236}">
                    <a16:creationId xmlns:a16="http://schemas.microsoft.com/office/drawing/2014/main" id="{E7E1159B-1777-408B-BF53-780820FAFD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87" name="Freeform 163">
                <a:extLst>
                  <a:ext uri="{FF2B5EF4-FFF2-40B4-BE49-F238E27FC236}">
                    <a16:creationId xmlns:a16="http://schemas.microsoft.com/office/drawing/2014/main" id="{9A616008-5C9D-46E0-A974-C1A2C67453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88" name="Freeform 164">
                <a:extLst>
                  <a:ext uri="{FF2B5EF4-FFF2-40B4-BE49-F238E27FC236}">
                    <a16:creationId xmlns:a16="http://schemas.microsoft.com/office/drawing/2014/main" id="{08AC68C2-290E-4CCC-809F-6DCC910E6D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89" name="Freeform 165">
                <a:extLst>
                  <a:ext uri="{FF2B5EF4-FFF2-40B4-BE49-F238E27FC236}">
                    <a16:creationId xmlns:a16="http://schemas.microsoft.com/office/drawing/2014/main" id="{B937DB72-2DB1-4D9D-BDD3-9A97F521BE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90" name="Freeform 166">
                <a:extLst>
                  <a:ext uri="{FF2B5EF4-FFF2-40B4-BE49-F238E27FC236}">
                    <a16:creationId xmlns:a16="http://schemas.microsoft.com/office/drawing/2014/main" id="{DE0001DE-B4D4-4BE2-800F-3AF1F0D4C5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91" name="Freeform 167">
                <a:extLst>
                  <a:ext uri="{FF2B5EF4-FFF2-40B4-BE49-F238E27FC236}">
                    <a16:creationId xmlns:a16="http://schemas.microsoft.com/office/drawing/2014/main" id="{65A7CF0F-6B11-4F41-9565-240CE9772D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92" name="Freeform 168">
                <a:extLst>
                  <a:ext uri="{FF2B5EF4-FFF2-40B4-BE49-F238E27FC236}">
                    <a16:creationId xmlns:a16="http://schemas.microsoft.com/office/drawing/2014/main" id="{A231BD19-BA5E-4379-A3ED-9CCBACB57C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93" name="Freeform 169">
                <a:extLst>
                  <a:ext uri="{FF2B5EF4-FFF2-40B4-BE49-F238E27FC236}">
                    <a16:creationId xmlns:a16="http://schemas.microsoft.com/office/drawing/2014/main" id="{36BA6F2A-F8F6-4A41-B5F3-EFDD19F1E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94" name="Freeform 170">
                <a:extLst>
                  <a:ext uri="{FF2B5EF4-FFF2-40B4-BE49-F238E27FC236}">
                    <a16:creationId xmlns:a16="http://schemas.microsoft.com/office/drawing/2014/main" id="{7BB4F9A9-61BC-4141-9440-FDCFEF4CB4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95" name="Freeform 171">
                <a:extLst>
                  <a:ext uri="{FF2B5EF4-FFF2-40B4-BE49-F238E27FC236}">
                    <a16:creationId xmlns:a16="http://schemas.microsoft.com/office/drawing/2014/main" id="{BAFA2683-A742-4C47-BC97-F7BD72C571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96" name="Freeform 172">
                <a:extLst>
                  <a:ext uri="{FF2B5EF4-FFF2-40B4-BE49-F238E27FC236}">
                    <a16:creationId xmlns:a16="http://schemas.microsoft.com/office/drawing/2014/main" id="{CA150FD3-8B73-41A9-B1FE-CBA4C42FFE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97" name="Freeform 173">
                <a:extLst>
                  <a:ext uri="{FF2B5EF4-FFF2-40B4-BE49-F238E27FC236}">
                    <a16:creationId xmlns:a16="http://schemas.microsoft.com/office/drawing/2014/main" id="{CF40E1E6-D0B9-4B27-9500-1E947B2D16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98" name="Freeform 174">
                <a:extLst>
                  <a:ext uri="{FF2B5EF4-FFF2-40B4-BE49-F238E27FC236}">
                    <a16:creationId xmlns:a16="http://schemas.microsoft.com/office/drawing/2014/main" id="{AD570FA8-3A6B-42A9-A74B-CC082E1921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99" name="Freeform 175">
                <a:extLst>
                  <a:ext uri="{FF2B5EF4-FFF2-40B4-BE49-F238E27FC236}">
                    <a16:creationId xmlns:a16="http://schemas.microsoft.com/office/drawing/2014/main" id="{23F63887-2A07-4D7D-A687-2AFE641B5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00" name="Freeform 176">
                <a:extLst>
                  <a:ext uri="{FF2B5EF4-FFF2-40B4-BE49-F238E27FC236}">
                    <a16:creationId xmlns:a16="http://schemas.microsoft.com/office/drawing/2014/main" id="{7FBE439B-5CAC-4C78-A686-593AEDF1AC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01" name="Freeform 177">
                <a:extLst>
                  <a:ext uri="{FF2B5EF4-FFF2-40B4-BE49-F238E27FC236}">
                    <a16:creationId xmlns:a16="http://schemas.microsoft.com/office/drawing/2014/main" id="{5EC4BB16-62BE-4327-B32A-B8D29292E9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02" name="Freeform 178">
                <a:extLst>
                  <a:ext uri="{FF2B5EF4-FFF2-40B4-BE49-F238E27FC236}">
                    <a16:creationId xmlns:a16="http://schemas.microsoft.com/office/drawing/2014/main" id="{C35594F7-DC54-4694-A199-E4ED73C9A7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03" name="Freeform 188">
                <a:extLst>
                  <a:ext uri="{FF2B5EF4-FFF2-40B4-BE49-F238E27FC236}">
                    <a16:creationId xmlns:a16="http://schemas.microsoft.com/office/drawing/2014/main" id="{9A1D8577-4C78-4CE8-B550-557DB13BB6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04" name="Freeform 103">
                <a:extLst>
                  <a:ext uri="{FF2B5EF4-FFF2-40B4-BE49-F238E27FC236}">
                    <a16:creationId xmlns:a16="http://schemas.microsoft.com/office/drawing/2014/main" id="{A1E9E4AB-9453-4CE4-A521-D4380A2ECD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05" name="Freeform 104">
                <a:extLst>
                  <a:ext uri="{FF2B5EF4-FFF2-40B4-BE49-F238E27FC236}">
                    <a16:creationId xmlns:a16="http://schemas.microsoft.com/office/drawing/2014/main" id="{D5C68014-64AE-426A-8961-80D0A1A0725C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941" name="Groupe 1415">
            <a:extLst>
              <a:ext uri="{FF2B5EF4-FFF2-40B4-BE49-F238E27FC236}">
                <a16:creationId xmlns:a16="http://schemas.microsoft.com/office/drawing/2014/main" id="{2F96F298-014E-4454-BEE3-1ED2D29CC421}"/>
              </a:ext>
            </a:extLst>
          </p:cNvPr>
          <p:cNvGrpSpPr>
            <a:grpSpLocks/>
          </p:cNvGrpSpPr>
          <p:nvPr/>
        </p:nvGrpSpPr>
        <p:grpSpPr bwMode="auto">
          <a:xfrm>
            <a:off x="2667936" y="1899938"/>
            <a:ext cx="370735" cy="369808"/>
            <a:chOff x="2335613" y="3820290"/>
            <a:chExt cx="653238" cy="560864"/>
          </a:xfrm>
        </p:grpSpPr>
        <p:sp>
          <p:nvSpPr>
            <p:cNvPr id="942" name="Ellipse 941">
              <a:extLst>
                <a:ext uri="{FF2B5EF4-FFF2-40B4-BE49-F238E27FC236}">
                  <a16:creationId xmlns:a16="http://schemas.microsoft.com/office/drawing/2014/main" id="{C8522D73-347B-46DB-8BA9-40D5EC46F7B9}"/>
                </a:ext>
              </a:extLst>
            </p:cNvPr>
            <p:cNvSpPr/>
            <p:nvPr/>
          </p:nvSpPr>
          <p:spPr bwMode="auto">
            <a:xfrm>
              <a:off x="2335613" y="3917291"/>
              <a:ext cx="653238" cy="463863"/>
            </a:xfrm>
            <a:prstGeom prst="ellipse">
              <a:avLst/>
            </a:prstGeom>
            <a:solidFill>
              <a:schemeClr val="accent3"/>
            </a:solidFill>
            <a:ln w="76200">
              <a:solidFill>
                <a:srgbClr val="CCCC00"/>
              </a:solidFill>
              <a:round/>
              <a:headEnd/>
              <a:tailEnd/>
            </a:ln>
            <a:effectLst>
              <a:outerShdw blurRad="419100" dist="38100" dir="5400000" sx="107000" sy="107000" algn="t" rotWithShape="0">
                <a:prstClr val="black">
                  <a:alpha val="34000"/>
                </a:prstClr>
              </a:outerShdw>
            </a:effectLst>
            <a:scene3d>
              <a:camera prst="perspectiveRelaxedModerately">
                <a:rot lat="17390630" lon="0" rev="0"/>
              </a:camera>
              <a:lightRig rig="threePt" dir="t"/>
            </a:scene3d>
            <a:sp3d extrusionH="57150" prstMaterial="matte"/>
          </p:spPr>
          <p:txBody>
            <a:bodyPr lIns="0" tIns="0" rIns="0" bIns="0" anchor="ctr"/>
            <a:lstStyle/>
            <a:p>
              <a:pPr algn="ctr" defTabSz="3210641" eaLnBrk="1" fontAlgn="auto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54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943" name="_effect" descr="C:\Users\marc.h\Desktop\Schatten-TEST.png">
              <a:extLst>
                <a:ext uri="{FF2B5EF4-FFF2-40B4-BE49-F238E27FC236}">
                  <a16:creationId xmlns:a16="http://schemas.microsoft.com/office/drawing/2014/main" id="{4C2183E5-FC01-4828-8AC7-BDA6728452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441644" y="4131620"/>
              <a:ext cx="441180" cy="66490"/>
            </a:xfrm>
            <a:prstGeom prst="rect">
              <a:avLst/>
            </a:prstGeom>
            <a:solidFill>
              <a:schemeClr val="accent3"/>
            </a:solidFill>
            <a:ln>
              <a:solidFill>
                <a:srgbClr val="CCCC00"/>
              </a:solidFill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944" name="Gruppieren 96">
              <a:extLst>
                <a:ext uri="{FF2B5EF4-FFF2-40B4-BE49-F238E27FC236}">
                  <a16:creationId xmlns:a16="http://schemas.microsoft.com/office/drawing/2014/main" id="{FDD3EAE5-AED9-45D8-9669-1F4772F7C199}"/>
                </a:ext>
              </a:extLst>
            </p:cNvPr>
            <p:cNvGrpSpPr/>
            <p:nvPr/>
          </p:nvGrpSpPr>
          <p:grpSpPr>
            <a:xfrm>
              <a:off x="2435114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983" name="Freeform 156">
                <a:extLst>
                  <a:ext uri="{FF2B5EF4-FFF2-40B4-BE49-F238E27FC236}">
                    <a16:creationId xmlns:a16="http://schemas.microsoft.com/office/drawing/2014/main" id="{C0D24935-BEA4-4609-9888-2DD03229BD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84" name="Freeform 159">
                <a:extLst>
                  <a:ext uri="{FF2B5EF4-FFF2-40B4-BE49-F238E27FC236}">
                    <a16:creationId xmlns:a16="http://schemas.microsoft.com/office/drawing/2014/main" id="{5A2B3DA7-70B5-47A1-9FBA-97A4E00C1D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85" name="Freeform 160">
                <a:extLst>
                  <a:ext uri="{FF2B5EF4-FFF2-40B4-BE49-F238E27FC236}">
                    <a16:creationId xmlns:a16="http://schemas.microsoft.com/office/drawing/2014/main" id="{501C3BD6-5EB2-4D74-AC3B-E0561081E0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86" name="Freeform 179">
                <a:extLst>
                  <a:ext uri="{FF2B5EF4-FFF2-40B4-BE49-F238E27FC236}">
                    <a16:creationId xmlns:a16="http://schemas.microsoft.com/office/drawing/2014/main" id="{F1F87F43-E826-484D-89F3-790B9E3430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87" name="Freeform 180">
                <a:extLst>
                  <a:ext uri="{FF2B5EF4-FFF2-40B4-BE49-F238E27FC236}">
                    <a16:creationId xmlns:a16="http://schemas.microsoft.com/office/drawing/2014/main" id="{2894A3BC-8C77-4866-BD43-7E38BB75A1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88" name="Freeform 181">
                <a:extLst>
                  <a:ext uri="{FF2B5EF4-FFF2-40B4-BE49-F238E27FC236}">
                    <a16:creationId xmlns:a16="http://schemas.microsoft.com/office/drawing/2014/main" id="{F3090578-C5BF-4FF3-AA31-253CFC8BFB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89" name="Freeform 182">
                <a:extLst>
                  <a:ext uri="{FF2B5EF4-FFF2-40B4-BE49-F238E27FC236}">
                    <a16:creationId xmlns:a16="http://schemas.microsoft.com/office/drawing/2014/main" id="{5A4CCDE3-A7C5-440F-B16E-D095486DA5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90" name="Freeform 183">
                <a:extLst>
                  <a:ext uri="{FF2B5EF4-FFF2-40B4-BE49-F238E27FC236}">
                    <a16:creationId xmlns:a16="http://schemas.microsoft.com/office/drawing/2014/main" id="{6E7D2359-922F-4B03-94D1-B5C76BE435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91" name="Freeform 184">
                <a:extLst>
                  <a:ext uri="{FF2B5EF4-FFF2-40B4-BE49-F238E27FC236}">
                    <a16:creationId xmlns:a16="http://schemas.microsoft.com/office/drawing/2014/main" id="{519EA276-D9DB-43FC-9978-87E6B14C87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92" name="Freeform 185">
                <a:extLst>
                  <a:ext uri="{FF2B5EF4-FFF2-40B4-BE49-F238E27FC236}">
                    <a16:creationId xmlns:a16="http://schemas.microsoft.com/office/drawing/2014/main" id="{17037882-BA55-42BE-BFE9-0DC5AF5538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93" name="Freeform 186">
                <a:extLst>
                  <a:ext uri="{FF2B5EF4-FFF2-40B4-BE49-F238E27FC236}">
                    <a16:creationId xmlns:a16="http://schemas.microsoft.com/office/drawing/2014/main" id="{6981E149-7877-49E9-A6D9-3DC81B42C8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94" name="Freeform 187">
                <a:extLst>
                  <a:ext uri="{FF2B5EF4-FFF2-40B4-BE49-F238E27FC236}">
                    <a16:creationId xmlns:a16="http://schemas.microsoft.com/office/drawing/2014/main" id="{61C7C583-8584-4981-93FC-7EFA8021F9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95" name="Freeform 157">
                <a:extLst>
                  <a:ext uri="{FF2B5EF4-FFF2-40B4-BE49-F238E27FC236}">
                    <a16:creationId xmlns:a16="http://schemas.microsoft.com/office/drawing/2014/main" id="{D4537DDE-DD1A-4C73-903D-07646F9226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96" name="Freeform 158">
                <a:extLst>
                  <a:ext uri="{FF2B5EF4-FFF2-40B4-BE49-F238E27FC236}">
                    <a16:creationId xmlns:a16="http://schemas.microsoft.com/office/drawing/2014/main" id="{998FDAA3-9023-40F7-B393-3977820D81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97" name="Freeform 161">
                <a:extLst>
                  <a:ext uri="{FF2B5EF4-FFF2-40B4-BE49-F238E27FC236}">
                    <a16:creationId xmlns:a16="http://schemas.microsoft.com/office/drawing/2014/main" id="{FB61002F-67B6-41D7-86EC-280A744F04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98" name="Freeform 162">
                <a:extLst>
                  <a:ext uri="{FF2B5EF4-FFF2-40B4-BE49-F238E27FC236}">
                    <a16:creationId xmlns:a16="http://schemas.microsoft.com/office/drawing/2014/main" id="{8917256B-9721-4042-9BDE-324B1B176E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99" name="Freeform 163">
                <a:extLst>
                  <a:ext uri="{FF2B5EF4-FFF2-40B4-BE49-F238E27FC236}">
                    <a16:creationId xmlns:a16="http://schemas.microsoft.com/office/drawing/2014/main" id="{6B6EE9B4-2896-4F82-A20A-7FBBC83CF6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00" name="Freeform 164">
                <a:extLst>
                  <a:ext uri="{FF2B5EF4-FFF2-40B4-BE49-F238E27FC236}">
                    <a16:creationId xmlns:a16="http://schemas.microsoft.com/office/drawing/2014/main" id="{FBECC51B-4ED6-4D72-9718-B807C8C89F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01" name="Freeform 165">
                <a:extLst>
                  <a:ext uri="{FF2B5EF4-FFF2-40B4-BE49-F238E27FC236}">
                    <a16:creationId xmlns:a16="http://schemas.microsoft.com/office/drawing/2014/main" id="{79D953D8-D9E5-4B86-907F-4EC7C8EF8B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02" name="Freeform 166">
                <a:extLst>
                  <a:ext uri="{FF2B5EF4-FFF2-40B4-BE49-F238E27FC236}">
                    <a16:creationId xmlns:a16="http://schemas.microsoft.com/office/drawing/2014/main" id="{C1B3F967-64EE-4A1E-9B57-59599E11C8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03" name="Freeform 167">
                <a:extLst>
                  <a:ext uri="{FF2B5EF4-FFF2-40B4-BE49-F238E27FC236}">
                    <a16:creationId xmlns:a16="http://schemas.microsoft.com/office/drawing/2014/main" id="{7F3DFB45-E19A-483A-AF3C-7B274A1482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04" name="Freeform 168">
                <a:extLst>
                  <a:ext uri="{FF2B5EF4-FFF2-40B4-BE49-F238E27FC236}">
                    <a16:creationId xmlns:a16="http://schemas.microsoft.com/office/drawing/2014/main" id="{4158FD23-AA6C-482E-9EA9-4D0E9C6B5D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05" name="Freeform 169">
                <a:extLst>
                  <a:ext uri="{FF2B5EF4-FFF2-40B4-BE49-F238E27FC236}">
                    <a16:creationId xmlns:a16="http://schemas.microsoft.com/office/drawing/2014/main" id="{2EEFA618-FD7C-4E35-8BB5-F1113D60BE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06" name="Freeform 170">
                <a:extLst>
                  <a:ext uri="{FF2B5EF4-FFF2-40B4-BE49-F238E27FC236}">
                    <a16:creationId xmlns:a16="http://schemas.microsoft.com/office/drawing/2014/main" id="{276287C6-7CA8-447B-A51D-1BFD15CD39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07" name="Freeform 171">
                <a:extLst>
                  <a:ext uri="{FF2B5EF4-FFF2-40B4-BE49-F238E27FC236}">
                    <a16:creationId xmlns:a16="http://schemas.microsoft.com/office/drawing/2014/main" id="{6765E68D-1E46-4E8E-B8F8-B1E8F983C2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08" name="Freeform 172">
                <a:extLst>
                  <a:ext uri="{FF2B5EF4-FFF2-40B4-BE49-F238E27FC236}">
                    <a16:creationId xmlns:a16="http://schemas.microsoft.com/office/drawing/2014/main" id="{983B20E6-92B6-4E65-A610-077F1119A7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09" name="Freeform 173">
                <a:extLst>
                  <a:ext uri="{FF2B5EF4-FFF2-40B4-BE49-F238E27FC236}">
                    <a16:creationId xmlns:a16="http://schemas.microsoft.com/office/drawing/2014/main" id="{6E67D459-F6FC-436E-BFF9-384135B680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10" name="Freeform 174">
                <a:extLst>
                  <a:ext uri="{FF2B5EF4-FFF2-40B4-BE49-F238E27FC236}">
                    <a16:creationId xmlns:a16="http://schemas.microsoft.com/office/drawing/2014/main" id="{643AF55D-6D61-4D5F-AC79-E44A50E5DB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11" name="Freeform 175">
                <a:extLst>
                  <a:ext uri="{FF2B5EF4-FFF2-40B4-BE49-F238E27FC236}">
                    <a16:creationId xmlns:a16="http://schemas.microsoft.com/office/drawing/2014/main" id="{603D3788-B284-4469-A228-84E9018060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12" name="Freeform 176">
                <a:extLst>
                  <a:ext uri="{FF2B5EF4-FFF2-40B4-BE49-F238E27FC236}">
                    <a16:creationId xmlns:a16="http://schemas.microsoft.com/office/drawing/2014/main" id="{3A93CBD7-759D-447B-A910-3293372C82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13" name="Freeform 177">
                <a:extLst>
                  <a:ext uri="{FF2B5EF4-FFF2-40B4-BE49-F238E27FC236}">
                    <a16:creationId xmlns:a16="http://schemas.microsoft.com/office/drawing/2014/main" id="{6827FBE8-456C-4A04-B23E-A0FF7CED5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14" name="Freeform 178">
                <a:extLst>
                  <a:ext uri="{FF2B5EF4-FFF2-40B4-BE49-F238E27FC236}">
                    <a16:creationId xmlns:a16="http://schemas.microsoft.com/office/drawing/2014/main" id="{3220ED51-E7DE-433E-8814-FD68785434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15" name="Freeform 188">
                <a:extLst>
                  <a:ext uri="{FF2B5EF4-FFF2-40B4-BE49-F238E27FC236}">
                    <a16:creationId xmlns:a16="http://schemas.microsoft.com/office/drawing/2014/main" id="{AF92444E-2BF4-404A-BDAB-ADD48917B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16" name="Freeform 103">
                <a:extLst>
                  <a:ext uri="{FF2B5EF4-FFF2-40B4-BE49-F238E27FC236}">
                    <a16:creationId xmlns:a16="http://schemas.microsoft.com/office/drawing/2014/main" id="{09606ABA-6A66-42DC-B22A-3C39FE6A83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17" name="Freeform 104">
                <a:extLst>
                  <a:ext uri="{FF2B5EF4-FFF2-40B4-BE49-F238E27FC236}">
                    <a16:creationId xmlns:a16="http://schemas.microsoft.com/office/drawing/2014/main" id="{0E5AC662-A152-49D3-9D4E-86B5BF45741C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945" name="AutoShape 25">
              <a:extLst>
                <a:ext uri="{FF2B5EF4-FFF2-40B4-BE49-F238E27FC236}">
                  <a16:creationId xmlns:a16="http://schemas.microsoft.com/office/drawing/2014/main" id="{F8D875D5-6DD8-4DF6-BA2A-C0F6420DAF16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86187" flipH="1">
              <a:off x="2537923" y="3836717"/>
              <a:ext cx="158435" cy="327366"/>
            </a:xfrm>
            <a:custGeom>
              <a:avLst/>
              <a:gdLst>
                <a:gd name="T0" fmla="*/ 794460491 w 792"/>
                <a:gd name="T1" fmla="*/ 729941208 h 2536"/>
                <a:gd name="T2" fmla="*/ 794460491 w 792"/>
                <a:gd name="T3" fmla="*/ 729941208 h 2536"/>
                <a:gd name="T4" fmla="*/ 794460491 w 792"/>
                <a:gd name="T5" fmla="*/ 729941208 h 2536"/>
                <a:gd name="T6" fmla="*/ 794460491 w 792"/>
                <a:gd name="T7" fmla="*/ 729941208 h 2536"/>
                <a:gd name="T8" fmla="*/ 794460491 w 792"/>
                <a:gd name="T9" fmla="*/ 729941208 h 2536"/>
                <a:gd name="T10" fmla="*/ 794460491 w 792"/>
                <a:gd name="T11" fmla="*/ 729941208 h 2536"/>
                <a:gd name="T12" fmla="*/ 794460491 w 792"/>
                <a:gd name="T13" fmla="*/ 729941208 h 2536"/>
                <a:gd name="T14" fmla="*/ 794460491 w 792"/>
                <a:gd name="T15" fmla="*/ 729941208 h 2536"/>
                <a:gd name="T16" fmla="*/ 794460491 w 792"/>
                <a:gd name="T17" fmla="*/ 729941208 h 2536"/>
                <a:gd name="T18" fmla="*/ 794460491 w 792"/>
                <a:gd name="T19" fmla="*/ 729941208 h 2536"/>
                <a:gd name="T20" fmla="*/ 794460491 w 792"/>
                <a:gd name="T21" fmla="*/ 729941208 h 2536"/>
                <a:gd name="T22" fmla="*/ 794460491 w 792"/>
                <a:gd name="T23" fmla="*/ 729941208 h 2536"/>
                <a:gd name="T24" fmla="*/ 794460491 w 792"/>
                <a:gd name="T25" fmla="*/ 729941208 h 2536"/>
                <a:gd name="T26" fmla="*/ 794460491 w 792"/>
                <a:gd name="T27" fmla="*/ 729941208 h 2536"/>
                <a:gd name="T28" fmla="*/ 0 w 792"/>
                <a:gd name="T29" fmla="*/ 729941208 h 2536"/>
                <a:gd name="T30" fmla="*/ 794460491 w 792"/>
                <a:gd name="T31" fmla="*/ 729941208 h 2536"/>
                <a:gd name="T32" fmla="*/ 794460491 w 792"/>
                <a:gd name="T33" fmla="*/ 729941208 h 2536"/>
                <a:gd name="T34" fmla="*/ 794460491 w 792"/>
                <a:gd name="T35" fmla="*/ 729941208 h 2536"/>
                <a:gd name="T36" fmla="*/ 794460491 w 792"/>
                <a:gd name="T37" fmla="*/ 729941208 h 2536"/>
                <a:gd name="T38" fmla="*/ 794460491 w 792"/>
                <a:gd name="T39" fmla="*/ 729941208 h 2536"/>
                <a:gd name="T40" fmla="*/ 794460491 w 792"/>
                <a:gd name="T41" fmla="*/ 729941208 h 2536"/>
                <a:gd name="T42" fmla="*/ 794460491 w 792"/>
                <a:gd name="T43" fmla="*/ 729941208 h 2536"/>
                <a:gd name="T44" fmla="*/ 794460491 w 792"/>
                <a:gd name="T45" fmla="*/ 729941208 h 2536"/>
                <a:gd name="T46" fmla="*/ 794460491 w 792"/>
                <a:gd name="T47" fmla="*/ 729941208 h 2536"/>
                <a:gd name="T48" fmla="*/ 794460491 w 792"/>
                <a:gd name="T49" fmla="*/ 729941208 h 2536"/>
                <a:gd name="T50" fmla="*/ 794460491 w 792"/>
                <a:gd name="T51" fmla="*/ 729941208 h 2536"/>
                <a:gd name="T52" fmla="*/ 794460491 w 792"/>
                <a:gd name="T53" fmla="*/ 729941208 h 2536"/>
                <a:gd name="T54" fmla="*/ 794460491 w 792"/>
                <a:gd name="T55" fmla="*/ 729941208 h 2536"/>
                <a:gd name="T56" fmla="*/ 794460491 w 792"/>
                <a:gd name="T57" fmla="*/ 729941208 h 2536"/>
                <a:gd name="T58" fmla="*/ 794460491 w 792"/>
                <a:gd name="T59" fmla="*/ 729941208 h 2536"/>
                <a:gd name="T60" fmla="*/ 794460491 w 792"/>
                <a:gd name="T61" fmla="*/ 729941208 h 2536"/>
                <a:gd name="T62" fmla="*/ 794460491 w 792"/>
                <a:gd name="T63" fmla="*/ 729941208 h 2536"/>
                <a:gd name="T64" fmla="*/ 794460491 w 792"/>
                <a:gd name="T65" fmla="*/ 729941208 h 2536"/>
                <a:gd name="T66" fmla="*/ 794460491 w 792"/>
                <a:gd name="T67" fmla="*/ 729941208 h 2536"/>
                <a:gd name="T68" fmla="*/ 794460491 w 792"/>
                <a:gd name="T69" fmla="*/ 729941208 h 2536"/>
                <a:gd name="T70" fmla="*/ 794460491 w 792"/>
                <a:gd name="T71" fmla="*/ 729941208 h 2536"/>
                <a:gd name="T72" fmla="*/ 794460491 w 792"/>
                <a:gd name="T73" fmla="*/ 729941208 h 2536"/>
                <a:gd name="T74" fmla="*/ 794460491 w 792"/>
                <a:gd name="T75" fmla="*/ 729941208 h 2536"/>
                <a:gd name="T76" fmla="*/ 794460491 w 792"/>
                <a:gd name="T77" fmla="*/ 729941208 h 2536"/>
                <a:gd name="T78" fmla="*/ 794460491 w 792"/>
                <a:gd name="T79" fmla="*/ 729941208 h 2536"/>
                <a:gd name="T80" fmla="*/ 794460491 w 792"/>
                <a:gd name="T81" fmla="*/ 729941208 h 2536"/>
                <a:gd name="T82" fmla="*/ 794460491 w 792"/>
                <a:gd name="T83" fmla="*/ 729941208 h 2536"/>
                <a:gd name="T84" fmla="*/ 794460491 w 792"/>
                <a:gd name="T85" fmla="*/ 729941208 h 2536"/>
                <a:gd name="T86" fmla="*/ 794460491 w 792"/>
                <a:gd name="T87" fmla="*/ 729941208 h 2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2536"/>
                <a:gd name="T134" fmla="*/ 792 w 792"/>
                <a:gd name="T135" fmla="*/ 2536 h 2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2536">
                  <a:moveTo>
                    <a:pt x="752" y="900"/>
                  </a:moveTo>
                  <a:cubicBezTo>
                    <a:pt x="752" y="888"/>
                    <a:pt x="744" y="880"/>
                    <a:pt x="740" y="872"/>
                  </a:cubicBezTo>
                  <a:cubicBezTo>
                    <a:pt x="720" y="760"/>
                    <a:pt x="736" y="656"/>
                    <a:pt x="724" y="548"/>
                  </a:cubicBezTo>
                  <a:cubicBezTo>
                    <a:pt x="724" y="524"/>
                    <a:pt x="724" y="500"/>
                    <a:pt x="716" y="480"/>
                  </a:cubicBezTo>
                  <a:cubicBezTo>
                    <a:pt x="712" y="472"/>
                    <a:pt x="704" y="464"/>
                    <a:pt x="696" y="456"/>
                  </a:cubicBezTo>
                  <a:cubicBezTo>
                    <a:pt x="688" y="452"/>
                    <a:pt x="668" y="452"/>
                    <a:pt x="672" y="444"/>
                  </a:cubicBezTo>
                  <a:cubicBezTo>
                    <a:pt x="688" y="332"/>
                    <a:pt x="664" y="224"/>
                    <a:pt x="656" y="116"/>
                  </a:cubicBezTo>
                  <a:cubicBezTo>
                    <a:pt x="652" y="56"/>
                    <a:pt x="600" y="0"/>
                    <a:pt x="532" y="8"/>
                  </a:cubicBezTo>
                  <a:cubicBezTo>
                    <a:pt x="512" y="12"/>
                    <a:pt x="492" y="16"/>
                    <a:pt x="472" y="32"/>
                  </a:cubicBezTo>
                  <a:cubicBezTo>
                    <a:pt x="440" y="60"/>
                    <a:pt x="416" y="88"/>
                    <a:pt x="400" y="124"/>
                  </a:cubicBezTo>
                  <a:cubicBezTo>
                    <a:pt x="392" y="148"/>
                    <a:pt x="380" y="164"/>
                    <a:pt x="372" y="188"/>
                  </a:cubicBezTo>
                  <a:cubicBezTo>
                    <a:pt x="364" y="212"/>
                    <a:pt x="364" y="232"/>
                    <a:pt x="360" y="256"/>
                  </a:cubicBezTo>
                  <a:cubicBezTo>
                    <a:pt x="356" y="272"/>
                    <a:pt x="364" y="284"/>
                    <a:pt x="364" y="296"/>
                  </a:cubicBezTo>
                  <a:cubicBezTo>
                    <a:pt x="364" y="352"/>
                    <a:pt x="308" y="388"/>
                    <a:pt x="264" y="416"/>
                  </a:cubicBezTo>
                  <a:cubicBezTo>
                    <a:pt x="240" y="432"/>
                    <a:pt x="204" y="428"/>
                    <a:pt x="184" y="452"/>
                  </a:cubicBezTo>
                  <a:cubicBezTo>
                    <a:pt x="144" y="496"/>
                    <a:pt x="160" y="556"/>
                    <a:pt x="144" y="608"/>
                  </a:cubicBezTo>
                  <a:cubicBezTo>
                    <a:pt x="144" y="612"/>
                    <a:pt x="156" y="616"/>
                    <a:pt x="152" y="628"/>
                  </a:cubicBezTo>
                  <a:cubicBezTo>
                    <a:pt x="148" y="696"/>
                    <a:pt x="156" y="764"/>
                    <a:pt x="140" y="832"/>
                  </a:cubicBezTo>
                  <a:cubicBezTo>
                    <a:pt x="128" y="876"/>
                    <a:pt x="120" y="916"/>
                    <a:pt x="116" y="960"/>
                  </a:cubicBezTo>
                  <a:cubicBezTo>
                    <a:pt x="112" y="1024"/>
                    <a:pt x="116" y="1088"/>
                    <a:pt x="116" y="1152"/>
                  </a:cubicBezTo>
                  <a:cubicBezTo>
                    <a:pt x="116" y="1212"/>
                    <a:pt x="108" y="1272"/>
                    <a:pt x="96" y="1336"/>
                  </a:cubicBezTo>
                  <a:cubicBezTo>
                    <a:pt x="92" y="1360"/>
                    <a:pt x="104" y="1384"/>
                    <a:pt x="120" y="1404"/>
                  </a:cubicBezTo>
                  <a:cubicBezTo>
                    <a:pt x="136" y="1424"/>
                    <a:pt x="164" y="1432"/>
                    <a:pt x="188" y="1436"/>
                  </a:cubicBezTo>
                  <a:cubicBezTo>
                    <a:pt x="192" y="1436"/>
                    <a:pt x="196" y="1440"/>
                    <a:pt x="196" y="1444"/>
                  </a:cubicBezTo>
                  <a:cubicBezTo>
                    <a:pt x="192" y="1540"/>
                    <a:pt x="192" y="1636"/>
                    <a:pt x="180" y="1736"/>
                  </a:cubicBezTo>
                  <a:cubicBezTo>
                    <a:pt x="180" y="1744"/>
                    <a:pt x="188" y="1748"/>
                    <a:pt x="188" y="1752"/>
                  </a:cubicBezTo>
                  <a:cubicBezTo>
                    <a:pt x="188" y="1820"/>
                    <a:pt x="152" y="1884"/>
                    <a:pt x="148" y="1956"/>
                  </a:cubicBezTo>
                  <a:cubicBezTo>
                    <a:pt x="144" y="2056"/>
                    <a:pt x="156" y="2152"/>
                    <a:pt x="148" y="2252"/>
                  </a:cubicBezTo>
                  <a:cubicBezTo>
                    <a:pt x="148" y="2316"/>
                    <a:pt x="120" y="2376"/>
                    <a:pt x="88" y="2432"/>
                  </a:cubicBezTo>
                  <a:cubicBezTo>
                    <a:pt x="64" y="2468"/>
                    <a:pt x="24" y="2484"/>
                    <a:pt x="0" y="2516"/>
                  </a:cubicBezTo>
                  <a:cubicBezTo>
                    <a:pt x="52" y="2512"/>
                    <a:pt x="104" y="2516"/>
                    <a:pt x="152" y="2492"/>
                  </a:cubicBezTo>
                  <a:cubicBezTo>
                    <a:pt x="148" y="2460"/>
                    <a:pt x="180" y="2424"/>
                    <a:pt x="208" y="2424"/>
                  </a:cubicBezTo>
                  <a:cubicBezTo>
                    <a:pt x="224" y="2428"/>
                    <a:pt x="204" y="2460"/>
                    <a:pt x="220" y="2476"/>
                  </a:cubicBezTo>
                  <a:cubicBezTo>
                    <a:pt x="220" y="2448"/>
                    <a:pt x="224" y="2420"/>
                    <a:pt x="244" y="2396"/>
                  </a:cubicBezTo>
                  <a:cubicBezTo>
                    <a:pt x="268" y="2372"/>
                    <a:pt x="248" y="2336"/>
                    <a:pt x="224" y="2312"/>
                  </a:cubicBezTo>
                  <a:cubicBezTo>
                    <a:pt x="224" y="2308"/>
                    <a:pt x="221" y="2300"/>
                    <a:pt x="220" y="2292"/>
                  </a:cubicBezTo>
                  <a:cubicBezTo>
                    <a:pt x="216" y="2244"/>
                    <a:pt x="224" y="2196"/>
                    <a:pt x="236" y="2144"/>
                  </a:cubicBezTo>
                  <a:cubicBezTo>
                    <a:pt x="244" y="2084"/>
                    <a:pt x="264" y="2032"/>
                    <a:pt x="280" y="1972"/>
                  </a:cubicBezTo>
                  <a:cubicBezTo>
                    <a:pt x="296" y="1916"/>
                    <a:pt x="284" y="1856"/>
                    <a:pt x="304" y="1800"/>
                  </a:cubicBezTo>
                  <a:cubicBezTo>
                    <a:pt x="308" y="1784"/>
                    <a:pt x="312" y="1760"/>
                    <a:pt x="328" y="1752"/>
                  </a:cubicBezTo>
                  <a:cubicBezTo>
                    <a:pt x="352" y="1740"/>
                    <a:pt x="380" y="1740"/>
                    <a:pt x="404" y="1744"/>
                  </a:cubicBezTo>
                  <a:cubicBezTo>
                    <a:pt x="432" y="1744"/>
                    <a:pt x="460" y="1748"/>
                    <a:pt x="488" y="1752"/>
                  </a:cubicBezTo>
                  <a:cubicBezTo>
                    <a:pt x="500" y="1756"/>
                    <a:pt x="504" y="1768"/>
                    <a:pt x="508" y="1780"/>
                  </a:cubicBezTo>
                  <a:cubicBezTo>
                    <a:pt x="512" y="1840"/>
                    <a:pt x="496" y="1896"/>
                    <a:pt x="488" y="1956"/>
                  </a:cubicBezTo>
                  <a:cubicBezTo>
                    <a:pt x="484" y="2024"/>
                    <a:pt x="496" y="2092"/>
                    <a:pt x="480" y="2164"/>
                  </a:cubicBezTo>
                  <a:cubicBezTo>
                    <a:pt x="476" y="2192"/>
                    <a:pt x="476" y="2220"/>
                    <a:pt x="468" y="2248"/>
                  </a:cubicBezTo>
                  <a:cubicBezTo>
                    <a:pt x="460" y="2272"/>
                    <a:pt x="448" y="2292"/>
                    <a:pt x="444" y="2320"/>
                  </a:cubicBezTo>
                  <a:cubicBezTo>
                    <a:pt x="440" y="2328"/>
                    <a:pt x="428" y="2328"/>
                    <a:pt x="428" y="2340"/>
                  </a:cubicBezTo>
                  <a:cubicBezTo>
                    <a:pt x="424" y="2352"/>
                    <a:pt x="420" y="2364"/>
                    <a:pt x="420" y="2376"/>
                  </a:cubicBezTo>
                  <a:cubicBezTo>
                    <a:pt x="424" y="2392"/>
                    <a:pt x="440" y="2404"/>
                    <a:pt x="444" y="2416"/>
                  </a:cubicBezTo>
                  <a:cubicBezTo>
                    <a:pt x="452" y="2432"/>
                    <a:pt x="452" y="2452"/>
                    <a:pt x="448" y="2468"/>
                  </a:cubicBezTo>
                  <a:cubicBezTo>
                    <a:pt x="444" y="2476"/>
                    <a:pt x="436" y="2488"/>
                    <a:pt x="444" y="2496"/>
                  </a:cubicBezTo>
                  <a:cubicBezTo>
                    <a:pt x="480" y="2524"/>
                    <a:pt x="564" y="2536"/>
                    <a:pt x="552" y="2472"/>
                  </a:cubicBezTo>
                  <a:cubicBezTo>
                    <a:pt x="540" y="2432"/>
                    <a:pt x="512" y="2392"/>
                    <a:pt x="516" y="2348"/>
                  </a:cubicBezTo>
                  <a:cubicBezTo>
                    <a:pt x="516" y="2312"/>
                    <a:pt x="520" y="2276"/>
                    <a:pt x="532" y="2240"/>
                  </a:cubicBezTo>
                  <a:cubicBezTo>
                    <a:pt x="596" y="2088"/>
                    <a:pt x="640" y="1932"/>
                    <a:pt x="624" y="1768"/>
                  </a:cubicBezTo>
                  <a:cubicBezTo>
                    <a:pt x="652" y="1744"/>
                    <a:pt x="696" y="1748"/>
                    <a:pt x="732" y="1748"/>
                  </a:cubicBezTo>
                  <a:cubicBezTo>
                    <a:pt x="736" y="1640"/>
                    <a:pt x="708" y="1536"/>
                    <a:pt x="724" y="1428"/>
                  </a:cubicBezTo>
                  <a:cubicBezTo>
                    <a:pt x="728" y="1408"/>
                    <a:pt x="756" y="1416"/>
                    <a:pt x="768" y="1404"/>
                  </a:cubicBezTo>
                  <a:cubicBezTo>
                    <a:pt x="784" y="1392"/>
                    <a:pt x="792" y="1368"/>
                    <a:pt x="792" y="1356"/>
                  </a:cubicBezTo>
                  <a:cubicBezTo>
                    <a:pt x="740" y="1204"/>
                    <a:pt x="784" y="1060"/>
                    <a:pt x="752" y="900"/>
                  </a:cubicBezTo>
                  <a:close/>
                  <a:moveTo>
                    <a:pt x="208" y="1272"/>
                  </a:moveTo>
                  <a:cubicBezTo>
                    <a:pt x="200" y="1316"/>
                    <a:pt x="200" y="1364"/>
                    <a:pt x="200" y="1408"/>
                  </a:cubicBezTo>
                  <a:cubicBezTo>
                    <a:pt x="200" y="1416"/>
                    <a:pt x="204" y="1432"/>
                    <a:pt x="192" y="1428"/>
                  </a:cubicBezTo>
                  <a:cubicBezTo>
                    <a:pt x="176" y="1428"/>
                    <a:pt x="172" y="1420"/>
                    <a:pt x="160" y="1408"/>
                  </a:cubicBezTo>
                  <a:cubicBezTo>
                    <a:pt x="160" y="1404"/>
                    <a:pt x="160" y="1400"/>
                    <a:pt x="160" y="1396"/>
                  </a:cubicBezTo>
                  <a:cubicBezTo>
                    <a:pt x="148" y="1400"/>
                    <a:pt x="140" y="1388"/>
                    <a:pt x="136" y="1376"/>
                  </a:cubicBezTo>
                  <a:cubicBezTo>
                    <a:pt x="128" y="1356"/>
                    <a:pt x="132" y="1324"/>
                    <a:pt x="148" y="1324"/>
                  </a:cubicBezTo>
                  <a:cubicBezTo>
                    <a:pt x="172" y="1320"/>
                    <a:pt x="164" y="1364"/>
                    <a:pt x="172" y="1384"/>
                  </a:cubicBezTo>
                  <a:cubicBezTo>
                    <a:pt x="176" y="1388"/>
                    <a:pt x="180" y="1388"/>
                    <a:pt x="184" y="1388"/>
                  </a:cubicBezTo>
                  <a:cubicBezTo>
                    <a:pt x="180" y="1352"/>
                    <a:pt x="184" y="1312"/>
                    <a:pt x="176" y="1276"/>
                  </a:cubicBezTo>
                  <a:cubicBezTo>
                    <a:pt x="172" y="1252"/>
                    <a:pt x="152" y="1236"/>
                    <a:pt x="156" y="1208"/>
                  </a:cubicBezTo>
                  <a:cubicBezTo>
                    <a:pt x="180" y="1060"/>
                    <a:pt x="224" y="928"/>
                    <a:pt x="232" y="780"/>
                  </a:cubicBezTo>
                  <a:cubicBezTo>
                    <a:pt x="232" y="756"/>
                    <a:pt x="224" y="724"/>
                    <a:pt x="248" y="712"/>
                  </a:cubicBezTo>
                  <a:cubicBezTo>
                    <a:pt x="264" y="704"/>
                    <a:pt x="257" y="732"/>
                    <a:pt x="260" y="744"/>
                  </a:cubicBezTo>
                  <a:cubicBezTo>
                    <a:pt x="304" y="928"/>
                    <a:pt x="224" y="1092"/>
                    <a:pt x="208" y="1272"/>
                  </a:cubicBezTo>
                  <a:close/>
                  <a:moveTo>
                    <a:pt x="656" y="876"/>
                  </a:moveTo>
                  <a:cubicBezTo>
                    <a:pt x="656" y="888"/>
                    <a:pt x="641" y="882"/>
                    <a:pt x="632" y="876"/>
                  </a:cubicBezTo>
                  <a:cubicBezTo>
                    <a:pt x="620" y="868"/>
                    <a:pt x="620" y="852"/>
                    <a:pt x="624" y="844"/>
                  </a:cubicBezTo>
                  <a:cubicBezTo>
                    <a:pt x="632" y="824"/>
                    <a:pt x="624" y="800"/>
                    <a:pt x="616" y="780"/>
                  </a:cubicBezTo>
                  <a:cubicBezTo>
                    <a:pt x="608" y="764"/>
                    <a:pt x="608" y="744"/>
                    <a:pt x="624" y="728"/>
                  </a:cubicBezTo>
                  <a:cubicBezTo>
                    <a:pt x="628" y="728"/>
                    <a:pt x="632" y="728"/>
                    <a:pt x="636" y="728"/>
                  </a:cubicBezTo>
                  <a:cubicBezTo>
                    <a:pt x="664" y="776"/>
                    <a:pt x="660" y="828"/>
                    <a:pt x="656" y="876"/>
                  </a:cubicBezTo>
                  <a:close/>
                  <a:moveTo>
                    <a:pt x="728" y="1400"/>
                  </a:moveTo>
                  <a:cubicBezTo>
                    <a:pt x="724" y="1400"/>
                    <a:pt x="716" y="1392"/>
                    <a:pt x="720" y="1384"/>
                  </a:cubicBezTo>
                  <a:cubicBezTo>
                    <a:pt x="728" y="1364"/>
                    <a:pt x="716" y="1332"/>
                    <a:pt x="748" y="1332"/>
                  </a:cubicBezTo>
                  <a:cubicBezTo>
                    <a:pt x="752" y="1332"/>
                    <a:pt x="752" y="1341"/>
                    <a:pt x="756" y="1348"/>
                  </a:cubicBezTo>
                  <a:cubicBezTo>
                    <a:pt x="768" y="1372"/>
                    <a:pt x="756" y="1400"/>
                    <a:pt x="728" y="1400"/>
                  </a:cubicBezTo>
                  <a:close/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6" name="AutoShape 22">
              <a:extLst>
                <a:ext uri="{FF2B5EF4-FFF2-40B4-BE49-F238E27FC236}">
                  <a16:creationId xmlns:a16="http://schemas.microsoft.com/office/drawing/2014/main" id="{5A87A6BC-9521-484D-B2B9-ECB6B570C68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42734" y="3820290"/>
              <a:ext cx="139748" cy="340273"/>
            </a:xfrm>
            <a:custGeom>
              <a:avLst/>
              <a:gdLst>
                <a:gd name="T0" fmla="*/ 808464432 w 680"/>
                <a:gd name="T1" fmla="*/ 813928491 h 2335"/>
                <a:gd name="T2" fmla="*/ 808464432 w 680"/>
                <a:gd name="T3" fmla="*/ 813928491 h 2335"/>
                <a:gd name="T4" fmla="*/ 808464432 w 680"/>
                <a:gd name="T5" fmla="*/ 813928491 h 2335"/>
                <a:gd name="T6" fmla="*/ 808464432 w 680"/>
                <a:gd name="T7" fmla="*/ 813928491 h 2335"/>
                <a:gd name="T8" fmla="*/ 808464432 w 680"/>
                <a:gd name="T9" fmla="*/ 813928491 h 2335"/>
                <a:gd name="T10" fmla="*/ 808464432 w 680"/>
                <a:gd name="T11" fmla="*/ 813928491 h 2335"/>
                <a:gd name="T12" fmla="*/ 808464432 w 680"/>
                <a:gd name="T13" fmla="*/ 813928491 h 2335"/>
                <a:gd name="T14" fmla="*/ 808464432 w 680"/>
                <a:gd name="T15" fmla="*/ 813928491 h 2335"/>
                <a:gd name="T16" fmla="*/ 808464432 w 680"/>
                <a:gd name="T17" fmla="*/ 813928491 h 2335"/>
                <a:gd name="T18" fmla="*/ 808464432 w 680"/>
                <a:gd name="T19" fmla="*/ 813928491 h 2335"/>
                <a:gd name="T20" fmla="*/ 808464432 w 680"/>
                <a:gd name="T21" fmla="*/ 813928491 h 2335"/>
                <a:gd name="T22" fmla="*/ 808464432 w 680"/>
                <a:gd name="T23" fmla="*/ 813928491 h 2335"/>
                <a:gd name="T24" fmla="*/ 808464432 w 680"/>
                <a:gd name="T25" fmla="*/ 813928491 h 2335"/>
                <a:gd name="T26" fmla="*/ 808464432 w 680"/>
                <a:gd name="T27" fmla="*/ 813928491 h 2335"/>
                <a:gd name="T28" fmla="*/ 808464432 w 680"/>
                <a:gd name="T29" fmla="*/ 813928491 h 2335"/>
                <a:gd name="T30" fmla="*/ 808464432 w 680"/>
                <a:gd name="T31" fmla="*/ 813928491 h 2335"/>
                <a:gd name="T32" fmla="*/ 808464432 w 680"/>
                <a:gd name="T33" fmla="*/ 813928491 h 2335"/>
                <a:gd name="T34" fmla="*/ 808464432 w 680"/>
                <a:gd name="T35" fmla="*/ 813928491 h 2335"/>
                <a:gd name="T36" fmla="*/ 808464432 w 680"/>
                <a:gd name="T37" fmla="*/ 813928491 h 2335"/>
                <a:gd name="T38" fmla="*/ 808464432 w 680"/>
                <a:gd name="T39" fmla="*/ 813928491 h 2335"/>
                <a:gd name="T40" fmla="*/ 808464432 w 680"/>
                <a:gd name="T41" fmla="*/ 813928491 h 2335"/>
                <a:gd name="T42" fmla="*/ 808464432 w 680"/>
                <a:gd name="T43" fmla="*/ 813928491 h 2335"/>
                <a:gd name="T44" fmla="*/ 808464432 w 680"/>
                <a:gd name="T45" fmla="*/ 813928491 h 2335"/>
                <a:gd name="T46" fmla="*/ 808464432 w 680"/>
                <a:gd name="T47" fmla="*/ 813928491 h 2335"/>
                <a:gd name="T48" fmla="*/ 808464432 w 680"/>
                <a:gd name="T49" fmla="*/ 813928491 h 2335"/>
                <a:gd name="T50" fmla="*/ 808464432 w 680"/>
                <a:gd name="T51" fmla="*/ 813928491 h 2335"/>
                <a:gd name="T52" fmla="*/ 808464432 w 680"/>
                <a:gd name="T53" fmla="*/ 813928491 h 2335"/>
                <a:gd name="T54" fmla="*/ 808464432 w 680"/>
                <a:gd name="T55" fmla="*/ 813928491 h 2335"/>
                <a:gd name="T56" fmla="*/ 808464432 w 680"/>
                <a:gd name="T57" fmla="*/ 813928491 h 2335"/>
                <a:gd name="T58" fmla="*/ 808464432 w 680"/>
                <a:gd name="T59" fmla="*/ 813928491 h 2335"/>
                <a:gd name="T60" fmla="*/ 808464432 w 680"/>
                <a:gd name="T61" fmla="*/ 813928491 h 2335"/>
                <a:gd name="T62" fmla="*/ 808464432 w 680"/>
                <a:gd name="T63" fmla="*/ 813928491 h 2335"/>
                <a:gd name="T64" fmla="*/ 808464432 w 680"/>
                <a:gd name="T65" fmla="*/ 813928491 h 2335"/>
                <a:gd name="T66" fmla="*/ 808464432 w 680"/>
                <a:gd name="T67" fmla="*/ 813928491 h 2335"/>
                <a:gd name="T68" fmla="*/ 808464432 w 680"/>
                <a:gd name="T69" fmla="*/ 813928491 h 2335"/>
                <a:gd name="T70" fmla="*/ 808464432 w 680"/>
                <a:gd name="T71" fmla="*/ 813928491 h 2335"/>
                <a:gd name="T72" fmla="*/ 808464432 w 680"/>
                <a:gd name="T73" fmla="*/ 813928491 h 2335"/>
                <a:gd name="T74" fmla="*/ 808464432 w 680"/>
                <a:gd name="T75" fmla="*/ 813928491 h 2335"/>
                <a:gd name="T76" fmla="*/ 808464432 w 680"/>
                <a:gd name="T77" fmla="*/ 813928491 h 2335"/>
                <a:gd name="T78" fmla="*/ 808464432 w 680"/>
                <a:gd name="T79" fmla="*/ 813928491 h 2335"/>
                <a:gd name="T80" fmla="*/ 808464432 w 680"/>
                <a:gd name="T81" fmla="*/ 813928491 h 2335"/>
                <a:gd name="T82" fmla="*/ 808464432 w 680"/>
                <a:gd name="T83" fmla="*/ 813928491 h 2335"/>
                <a:gd name="T84" fmla="*/ 808464432 w 680"/>
                <a:gd name="T85" fmla="*/ 813928491 h 2335"/>
                <a:gd name="T86" fmla="*/ 808464432 w 680"/>
                <a:gd name="T87" fmla="*/ 813928491 h 2335"/>
                <a:gd name="T88" fmla="*/ 808464432 w 680"/>
                <a:gd name="T89" fmla="*/ 813928491 h 2335"/>
                <a:gd name="T90" fmla="*/ 808464432 w 680"/>
                <a:gd name="T91" fmla="*/ 813928491 h 2335"/>
                <a:gd name="T92" fmla="*/ 808464432 w 680"/>
                <a:gd name="T93" fmla="*/ 813928491 h 2335"/>
                <a:gd name="T94" fmla="*/ 808464432 w 680"/>
                <a:gd name="T95" fmla="*/ 813928491 h 2335"/>
                <a:gd name="T96" fmla="*/ 808464432 w 680"/>
                <a:gd name="T97" fmla="*/ 813928491 h 2335"/>
                <a:gd name="T98" fmla="*/ 808464432 w 680"/>
                <a:gd name="T99" fmla="*/ 813928491 h 2335"/>
                <a:gd name="T100" fmla="*/ 808464432 w 680"/>
                <a:gd name="T101" fmla="*/ 813928491 h 2335"/>
                <a:gd name="T102" fmla="*/ 808464432 w 680"/>
                <a:gd name="T103" fmla="*/ 813928491 h 2335"/>
                <a:gd name="T104" fmla="*/ 808464432 w 680"/>
                <a:gd name="T105" fmla="*/ 813928491 h 2335"/>
                <a:gd name="T106" fmla="*/ 808464432 w 680"/>
                <a:gd name="T107" fmla="*/ 813928491 h 2335"/>
                <a:gd name="T108" fmla="*/ 808464432 w 680"/>
                <a:gd name="T109" fmla="*/ 813928491 h 2335"/>
                <a:gd name="T110" fmla="*/ 808464432 w 680"/>
                <a:gd name="T111" fmla="*/ 813928491 h 2335"/>
                <a:gd name="T112" fmla="*/ 808464432 w 680"/>
                <a:gd name="T113" fmla="*/ 813928491 h 2335"/>
                <a:gd name="T114" fmla="*/ 808464432 w 680"/>
                <a:gd name="T115" fmla="*/ 813928491 h 23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0"/>
                <a:gd name="T175" fmla="*/ 0 h 2335"/>
                <a:gd name="T176" fmla="*/ 680 w 680"/>
                <a:gd name="T177" fmla="*/ 2335 h 23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0" h="2335">
                  <a:moveTo>
                    <a:pt x="676" y="998"/>
                  </a:moveTo>
                  <a:cubicBezTo>
                    <a:pt x="670" y="976"/>
                    <a:pt x="677" y="952"/>
                    <a:pt x="674" y="929"/>
                  </a:cubicBezTo>
                  <a:cubicBezTo>
                    <a:pt x="673" y="919"/>
                    <a:pt x="670" y="909"/>
                    <a:pt x="668" y="898"/>
                  </a:cubicBezTo>
                  <a:cubicBezTo>
                    <a:pt x="666" y="885"/>
                    <a:pt x="667" y="872"/>
                    <a:pt x="667" y="859"/>
                  </a:cubicBezTo>
                  <a:cubicBezTo>
                    <a:pt x="666" y="834"/>
                    <a:pt x="662" y="810"/>
                    <a:pt x="662" y="785"/>
                  </a:cubicBezTo>
                  <a:cubicBezTo>
                    <a:pt x="663" y="759"/>
                    <a:pt x="664" y="732"/>
                    <a:pt x="662" y="706"/>
                  </a:cubicBezTo>
                  <a:cubicBezTo>
                    <a:pt x="657" y="647"/>
                    <a:pt x="645" y="590"/>
                    <a:pt x="632" y="533"/>
                  </a:cubicBezTo>
                  <a:cubicBezTo>
                    <a:pt x="628" y="513"/>
                    <a:pt x="623" y="492"/>
                    <a:pt x="618" y="472"/>
                  </a:cubicBezTo>
                  <a:cubicBezTo>
                    <a:pt x="613" y="453"/>
                    <a:pt x="607" y="436"/>
                    <a:pt x="592" y="423"/>
                  </a:cubicBezTo>
                  <a:cubicBezTo>
                    <a:pt x="572" y="405"/>
                    <a:pt x="547" y="403"/>
                    <a:pt x="524" y="392"/>
                  </a:cubicBezTo>
                  <a:cubicBezTo>
                    <a:pt x="506" y="384"/>
                    <a:pt x="489" y="373"/>
                    <a:pt x="471" y="364"/>
                  </a:cubicBezTo>
                  <a:cubicBezTo>
                    <a:pt x="463" y="361"/>
                    <a:pt x="455" y="357"/>
                    <a:pt x="449" y="351"/>
                  </a:cubicBezTo>
                  <a:cubicBezTo>
                    <a:pt x="443" y="344"/>
                    <a:pt x="438" y="342"/>
                    <a:pt x="430" y="339"/>
                  </a:cubicBezTo>
                  <a:cubicBezTo>
                    <a:pt x="420" y="336"/>
                    <a:pt x="415" y="332"/>
                    <a:pt x="415" y="323"/>
                  </a:cubicBezTo>
                  <a:cubicBezTo>
                    <a:pt x="415" y="314"/>
                    <a:pt x="415" y="304"/>
                    <a:pt x="414" y="294"/>
                  </a:cubicBezTo>
                  <a:cubicBezTo>
                    <a:pt x="413" y="285"/>
                    <a:pt x="412" y="279"/>
                    <a:pt x="419" y="272"/>
                  </a:cubicBezTo>
                  <a:cubicBezTo>
                    <a:pt x="426" y="263"/>
                    <a:pt x="428" y="252"/>
                    <a:pt x="429" y="241"/>
                  </a:cubicBezTo>
                  <a:cubicBezTo>
                    <a:pt x="430" y="234"/>
                    <a:pt x="431" y="227"/>
                    <a:pt x="431" y="220"/>
                  </a:cubicBezTo>
                  <a:cubicBezTo>
                    <a:pt x="431" y="214"/>
                    <a:pt x="431" y="215"/>
                    <a:pt x="436" y="216"/>
                  </a:cubicBezTo>
                  <a:cubicBezTo>
                    <a:pt x="450" y="219"/>
                    <a:pt x="451" y="211"/>
                    <a:pt x="456" y="200"/>
                  </a:cubicBezTo>
                  <a:cubicBezTo>
                    <a:pt x="461" y="190"/>
                    <a:pt x="474" y="134"/>
                    <a:pt x="449" y="140"/>
                  </a:cubicBezTo>
                  <a:cubicBezTo>
                    <a:pt x="446" y="141"/>
                    <a:pt x="449" y="130"/>
                    <a:pt x="449" y="128"/>
                  </a:cubicBezTo>
                  <a:cubicBezTo>
                    <a:pt x="450" y="121"/>
                    <a:pt x="453" y="114"/>
                    <a:pt x="451" y="106"/>
                  </a:cubicBezTo>
                  <a:cubicBezTo>
                    <a:pt x="448" y="95"/>
                    <a:pt x="452" y="86"/>
                    <a:pt x="450" y="76"/>
                  </a:cubicBezTo>
                  <a:cubicBezTo>
                    <a:pt x="449" y="66"/>
                    <a:pt x="442" y="57"/>
                    <a:pt x="438" y="48"/>
                  </a:cubicBezTo>
                  <a:cubicBezTo>
                    <a:pt x="435" y="43"/>
                    <a:pt x="435" y="38"/>
                    <a:pt x="429" y="35"/>
                  </a:cubicBezTo>
                  <a:cubicBezTo>
                    <a:pt x="423" y="32"/>
                    <a:pt x="421" y="28"/>
                    <a:pt x="416" y="24"/>
                  </a:cubicBezTo>
                  <a:cubicBezTo>
                    <a:pt x="408" y="17"/>
                    <a:pt x="397" y="5"/>
                    <a:pt x="386" y="7"/>
                  </a:cubicBezTo>
                  <a:cubicBezTo>
                    <a:pt x="381" y="9"/>
                    <a:pt x="376" y="5"/>
                    <a:pt x="371" y="3"/>
                  </a:cubicBezTo>
                  <a:cubicBezTo>
                    <a:pt x="369" y="3"/>
                    <a:pt x="366" y="3"/>
                    <a:pt x="364" y="3"/>
                  </a:cubicBezTo>
                  <a:cubicBezTo>
                    <a:pt x="360" y="3"/>
                    <a:pt x="356" y="0"/>
                    <a:pt x="352" y="0"/>
                  </a:cubicBezTo>
                  <a:cubicBezTo>
                    <a:pt x="346" y="0"/>
                    <a:pt x="338" y="1"/>
                    <a:pt x="332" y="1"/>
                  </a:cubicBezTo>
                  <a:cubicBezTo>
                    <a:pt x="330" y="2"/>
                    <a:pt x="328" y="4"/>
                    <a:pt x="325" y="4"/>
                  </a:cubicBezTo>
                  <a:cubicBezTo>
                    <a:pt x="322" y="5"/>
                    <a:pt x="320" y="3"/>
                    <a:pt x="316" y="3"/>
                  </a:cubicBezTo>
                  <a:cubicBezTo>
                    <a:pt x="311" y="3"/>
                    <a:pt x="307" y="9"/>
                    <a:pt x="301" y="10"/>
                  </a:cubicBezTo>
                  <a:cubicBezTo>
                    <a:pt x="299" y="11"/>
                    <a:pt x="297" y="13"/>
                    <a:pt x="295" y="14"/>
                  </a:cubicBezTo>
                  <a:cubicBezTo>
                    <a:pt x="292" y="15"/>
                    <a:pt x="288" y="16"/>
                    <a:pt x="285" y="17"/>
                  </a:cubicBezTo>
                  <a:cubicBezTo>
                    <a:pt x="280" y="20"/>
                    <a:pt x="276" y="22"/>
                    <a:pt x="272" y="25"/>
                  </a:cubicBezTo>
                  <a:cubicBezTo>
                    <a:pt x="269" y="27"/>
                    <a:pt x="268" y="30"/>
                    <a:pt x="266" y="32"/>
                  </a:cubicBezTo>
                  <a:cubicBezTo>
                    <a:pt x="262" y="35"/>
                    <a:pt x="257" y="39"/>
                    <a:pt x="254" y="44"/>
                  </a:cubicBezTo>
                  <a:cubicBezTo>
                    <a:pt x="253" y="47"/>
                    <a:pt x="253" y="50"/>
                    <a:pt x="251" y="53"/>
                  </a:cubicBezTo>
                  <a:cubicBezTo>
                    <a:pt x="250" y="56"/>
                    <a:pt x="247" y="57"/>
                    <a:pt x="245" y="61"/>
                  </a:cubicBezTo>
                  <a:cubicBezTo>
                    <a:pt x="242" y="69"/>
                    <a:pt x="237" y="87"/>
                    <a:pt x="241" y="95"/>
                  </a:cubicBezTo>
                  <a:cubicBezTo>
                    <a:pt x="245" y="104"/>
                    <a:pt x="240" y="115"/>
                    <a:pt x="244" y="124"/>
                  </a:cubicBezTo>
                  <a:cubicBezTo>
                    <a:pt x="245" y="129"/>
                    <a:pt x="239" y="126"/>
                    <a:pt x="236" y="127"/>
                  </a:cubicBezTo>
                  <a:cubicBezTo>
                    <a:pt x="231" y="130"/>
                    <a:pt x="231" y="138"/>
                    <a:pt x="230" y="142"/>
                  </a:cubicBezTo>
                  <a:cubicBezTo>
                    <a:pt x="228" y="155"/>
                    <a:pt x="226" y="170"/>
                    <a:pt x="229" y="183"/>
                  </a:cubicBezTo>
                  <a:cubicBezTo>
                    <a:pt x="233" y="194"/>
                    <a:pt x="238" y="203"/>
                    <a:pt x="250" y="204"/>
                  </a:cubicBezTo>
                  <a:cubicBezTo>
                    <a:pt x="254" y="204"/>
                    <a:pt x="256" y="203"/>
                    <a:pt x="257" y="207"/>
                  </a:cubicBezTo>
                  <a:cubicBezTo>
                    <a:pt x="258" y="212"/>
                    <a:pt x="257" y="219"/>
                    <a:pt x="257" y="224"/>
                  </a:cubicBezTo>
                  <a:cubicBezTo>
                    <a:pt x="257" y="235"/>
                    <a:pt x="258" y="245"/>
                    <a:pt x="263" y="254"/>
                  </a:cubicBezTo>
                  <a:cubicBezTo>
                    <a:pt x="266" y="259"/>
                    <a:pt x="269" y="263"/>
                    <a:pt x="269" y="269"/>
                  </a:cubicBezTo>
                  <a:cubicBezTo>
                    <a:pt x="268" y="274"/>
                    <a:pt x="268" y="278"/>
                    <a:pt x="268" y="283"/>
                  </a:cubicBezTo>
                  <a:cubicBezTo>
                    <a:pt x="268" y="293"/>
                    <a:pt x="268" y="304"/>
                    <a:pt x="268" y="314"/>
                  </a:cubicBezTo>
                  <a:cubicBezTo>
                    <a:pt x="268" y="323"/>
                    <a:pt x="270" y="334"/>
                    <a:pt x="261" y="340"/>
                  </a:cubicBezTo>
                  <a:cubicBezTo>
                    <a:pt x="257" y="343"/>
                    <a:pt x="252" y="346"/>
                    <a:pt x="246" y="348"/>
                  </a:cubicBezTo>
                  <a:cubicBezTo>
                    <a:pt x="242" y="350"/>
                    <a:pt x="238" y="350"/>
                    <a:pt x="234" y="352"/>
                  </a:cubicBezTo>
                  <a:cubicBezTo>
                    <a:pt x="223" y="359"/>
                    <a:pt x="216" y="369"/>
                    <a:pt x="204" y="374"/>
                  </a:cubicBezTo>
                  <a:cubicBezTo>
                    <a:pt x="188" y="382"/>
                    <a:pt x="173" y="392"/>
                    <a:pt x="157" y="400"/>
                  </a:cubicBezTo>
                  <a:cubicBezTo>
                    <a:pt x="138" y="412"/>
                    <a:pt x="115" y="413"/>
                    <a:pt x="96" y="426"/>
                  </a:cubicBezTo>
                  <a:cubicBezTo>
                    <a:pt x="76" y="439"/>
                    <a:pt x="66" y="460"/>
                    <a:pt x="61" y="482"/>
                  </a:cubicBezTo>
                  <a:cubicBezTo>
                    <a:pt x="57" y="497"/>
                    <a:pt x="53" y="511"/>
                    <a:pt x="50" y="526"/>
                  </a:cubicBezTo>
                  <a:cubicBezTo>
                    <a:pt x="44" y="565"/>
                    <a:pt x="38" y="605"/>
                    <a:pt x="33" y="644"/>
                  </a:cubicBezTo>
                  <a:cubicBezTo>
                    <a:pt x="28" y="681"/>
                    <a:pt x="25" y="719"/>
                    <a:pt x="21" y="757"/>
                  </a:cubicBezTo>
                  <a:cubicBezTo>
                    <a:pt x="19" y="777"/>
                    <a:pt x="18" y="797"/>
                    <a:pt x="16" y="817"/>
                  </a:cubicBezTo>
                  <a:cubicBezTo>
                    <a:pt x="14" y="842"/>
                    <a:pt x="9" y="868"/>
                    <a:pt x="7" y="893"/>
                  </a:cubicBezTo>
                  <a:cubicBezTo>
                    <a:pt x="4" y="916"/>
                    <a:pt x="6" y="939"/>
                    <a:pt x="5" y="962"/>
                  </a:cubicBezTo>
                  <a:cubicBezTo>
                    <a:pt x="5" y="972"/>
                    <a:pt x="4" y="982"/>
                    <a:pt x="4" y="992"/>
                  </a:cubicBezTo>
                  <a:cubicBezTo>
                    <a:pt x="4" y="997"/>
                    <a:pt x="5" y="1002"/>
                    <a:pt x="4" y="1007"/>
                  </a:cubicBezTo>
                  <a:cubicBezTo>
                    <a:pt x="4" y="1016"/>
                    <a:pt x="2" y="1024"/>
                    <a:pt x="3" y="1032"/>
                  </a:cubicBezTo>
                  <a:cubicBezTo>
                    <a:pt x="3" y="1041"/>
                    <a:pt x="9" y="1051"/>
                    <a:pt x="7" y="1059"/>
                  </a:cubicBezTo>
                  <a:cubicBezTo>
                    <a:pt x="4" y="1069"/>
                    <a:pt x="8" y="1083"/>
                    <a:pt x="10" y="1094"/>
                  </a:cubicBezTo>
                  <a:cubicBezTo>
                    <a:pt x="12" y="1105"/>
                    <a:pt x="17" y="1115"/>
                    <a:pt x="8" y="1125"/>
                  </a:cubicBezTo>
                  <a:cubicBezTo>
                    <a:pt x="4" y="1129"/>
                    <a:pt x="3" y="1134"/>
                    <a:pt x="3" y="1140"/>
                  </a:cubicBezTo>
                  <a:cubicBezTo>
                    <a:pt x="3" y="1143"/>
                    <a:pt x="3" y="1146"/>
                    <a:pt x="3" y="1150"/>
                  </a:cubicBezTo>
                  <a:cubicBezTo>
                    <a:pt x="4" y="1153"/>
                    <a:pt x="8" y="1158"/>
                    <a:pt x="7" y="1161"/>
                  </a:cubicBezTo>
                  <a:cubicBezTo>
                    <a:pt x="5" y="1167"/>
                    <a:pt x="0" y="1172"/>
                    <a:pt x="4" y="1179"/>
                  </a:cubicBezTo>
                  <a:cubicBezTo>
                    <a:pt x="8" y="1185"/>
                    <a:pt x="14" y="1183"/>
                    <a:pt x="19" y="1186"/>
                  </a:cubicBezTo>
                  <a:cubicBezTo>
                    <a:pt x="22" y="1188"/>
                    <a:pt x="15" y="1195"/>
                    <a:pt x="14" y="1198"/>
                  </a:cubicBezTo>
                  <a:cubicBezTo>
                    <a:pt x="13" y="1204"/>
                    <a:pt x="14" y="1210"/>
                    <a:pt x="15" y="1215"/>
                  </a:cubicBezTo>
                  <a:cubicBezTo>
                    <a:pt x="16" y="1220"/>
                    <a:pt x="12" y="1220"/>
                    <a:pt x="12" y="1223"/>
                  </a:cubicBezTo>
                  <a:cubicBezTo>
                    <a:pt x="13" y="1227"/>
                    <a:pt x="16" y="1229"/>
                    <a:pt x="16" y="1233"/>
                  </a:cubicBezTo>
                  <a:cubicBezTo>
                    <a:pt x="17" y="1245"/>
                    <a:pt x="16" y="1256"/>
                    <a:pt x="14" y="1267"/>
                  </a:cubicBezTo>
                  <a:cubicBezTo>
                    <a:pt x="13" y="1275"/>
                    <a:pt x="20" y="1284"/>
                    <a:pt x="22" y="1291"/>
                  </a:cubicBezTo>
                  <a:cubicBezTo>
                    <a:pt x="26" y="1302"/>
                    <a:pt x="29" y="1313"/>
                    <a:pt x="34" y="1324"/>
                  </a:cubicBezTo>
                  <a:cubicBezTo>
                    <a:pt x="41" y="1343"/>
                    <a:pt x="57" y="1349"/>
                    <a:pt x="76" y="1355"/>
                  </a:cubicBezTo>
                  <a:cubicBezTo>
                    <a:pt x="80" y="1356"/>
                    <a:pt x="88" y="1359"/>
                    <a:pt x="92" y="1358"/>
                  </a:cubicBezTo>
                  <a:cubicBezTo>
                    <a:pt x="96" y="1357"/>
                    <a:pt x="98" y="1357"/>
                    <a:pt x="102" y="1358"/>
                  </a:cubicBezTo>
                  <a:cubicBezTo>
                    <a:pt x="109" y="1359"/>
                    <a:pt x="107" y="1373"/>
                    <a:pt x="108" y="1379"/>
                  </a:cubicBezTo>
                  <a:cubicBezTo>
                    <a:pt x="111" y="1404"/>
                    <a:pt x="115" y="1429"/>
                    <a:pt x="120" y="1453"/>
                  </a:cubicBezTo>
                  <a:cubicBezTo>
                    <a:pt x="124" y="1473"/>
                    <a:pt x="131" y="1492"/>
                    <a:pt x="135" y="1512"/>
                  </a:cubicBezTo>
                  <a:cubicBezTo>
                    <a:pt x="138" y="1532"/>
                    <a:pt x="139" y="1553"/>
                    <a:pt x="140" y="1573"/>
                  </a:cubicBezTo>
                  <a:cubicBezTo>
                    <a:pt x="143" y="1647"/>
                    <a:pt x="140" y="1720"/>
                    <a:pt x="145" y="1793"/>
                  </a:cubicBezTo>
                  <a:cubicBezTo>
                    <a:pt x="150" y="1860"/>
                    <a:pt x="153" y="1926"/>
                    <a:pt x="157" y="1992"/>
                  </a:cubicBezTo>
                  <a:cubicBezTo>
                    <a:pt x="158" y="2011"/>
                    <a:pt x="159" y="2029"/>
                    <a:pt x="159" y="2048"/>
                  </a:cubicBezTo>
                  <a:cubicBezTo>
                    <a:pt x="159" y="2053"/>
                    <a:pt x="160" y="2057"/>
                    <a:pt x="160" y="2062"/>
                  </a:cubicBezTo>
                  <a:cubicBezTo>
                    <a:pt x="160" y="2077"/>
                    <a:pt x="164" y="2090"/>
                    <a:pt x="167" y="2105"/>
                  </a:cubicBezTo>
                  <a:cubicBezTo>
                    <a:pt x="170" y="2114"/>
                    <a:pt x="165" y="2124"/>
                    <a:pt x="169" y="2133"/>
                  </a:cubicBezTo>
                  <a:cubicBezTo>
                    <a:pt x="171" y="2138"/>
                    <a:pt x="173" y="2140"/>
                    <a:pt x="173" y="2144"/>
                  </a:cubicBezTo>
                  <a:cubicBezTo>
                    <a:pt x="175" y="2162"/>
                    <a:pt x="176" y="2179"/>
                    <a:pt x="179" y="2196"/>
                  </a:cubicBezTo>
                  <a:cubicBezTo>
                    <a:pt x="180" y="2202"/>
                    <a:pt x="180" y="2210"/>
                    <a:pt x="184" y="2216"/>
                  </a:cubicBezTo>
                  <a:cubicBezTo>
                    <a:pt x="187" y="2221"/>
                    <a:pt x="192" y="2216"/>
                    <a:pt x="196" y="2217"/>
                  </a:cubicBezTo>
                  <a:cubicBezTo>
                    <a:pt x="205" y="2218"/>
                    <a:pt x="183" y="2238"/>
                    <a:pt x="183" y="2239"/>
                  </a:cubicBezTo>
                  <a:cubicBezTo>
                    <a:pt x="172" y="2249"/>
                    <a:pt x="165" y="2261"/>
                    <a:pt x="151" y="2268"/>
                  </a:cubicBezTo>
                  <a:cubicBezTo>
                    <a:pt x="142" y="2273"/>
                    <a:pt x="128" y="2275"/>
                    <a:pt x="124" y="2287"/>
                  </a:cubicBezTo>
                  <a:cubicBezTo>
                    <a:pt x="123" y="2291"/>
                    <a:pt x="125" y="2298"/>
                    <a:pt x="120" y="2301"/>
                  </a:cubicBezTo>
                  <a:cubicBezTo>
                    <a:pt x="117" y="2303"/>
                    <a:pt x="111" y="2303"/>
                    <a:pt x="111" y="2308"/>
                  </a:cubicBezTo>
                  <a:cubicBezTo>
                    <a:pt x="112" y="2315"/>
                    <a:pt x="117" y="2315"/>
                    <a:pt x="122" y="2316"/>
                  </a:cubicBezTo>
                  <a:cubicBezTo>
                    <a:pt x="128" y="2316"/>
                    <a:pt x="133" y="2318"/>
                    <a:pt x="138" y="2320"/>
                  </a:cubicBezTo>
                  <a:cubicBezTo>
                    <a:pt x="157" y="2323"/>
                    <a:pt x="177" y="2323"/>
                    <a:pt x="197" y="2323"/>
                  </a:cubicBezTo>
                  <a:cubicBezTo>
                    <a:pt x="215" y="2323"/>
                    <a:pt x="233" y="2322"/>
                    <a:pt x="251" y="2320"/>
                  </a:cubicBezTo>
                  <a:cubicBezTo>
                    <a:pt x="260" y="2320"/>
                    <a:pt x="271" y="2320"/>
                    <a:pt x="273" y="2309"/>
                  </a:cubicBezTo>
                  <a:cubicBezTo>
                    <a:pt x="275" y="2299"/>
                    <a:pt x="277" y="2294"/>
                    <a:pt x="287" y="2298"/>
                  </a:cubicBezTo>
                  <a:cubicBezTo>
                    <a:pt x="298" y="2302"/>
                    <a:pt x="305" y="2301"/>
                    <a:pt x="316" y="2298"/>
                  </a:cubicBezTo>
                  <a:cubicBezTo>
                    <a:pt x="323" y="2295"/>
                    <a:pt x="344" y="2293"/>
                    <a:pt x="343" y="2282"/>
                  </a:cubicBezTo>
                  <a:cubicBezTo>
                    <a:pt x="342" y="2275"/>
                    <a:pt x="342" y="2268"/>
                    <a:pt x="342" y="2262"/>
                  </a:cubicBezTo>
                  <a:cubicBezTo>
                    <a:pt x="342" y="2257"/>
                    <a:pt x="343" y="2250"/>
                    <a:pt x="341" y="2246"/>
                  </a:cubicBezTo>
                  <a:cubicBezTo>
                    <a:pt x="339" y="2243"/>
                    <a:pt x="335" y="2244"/>
                    <a:pt x="334" y="2243"/>
                  </a:cubicBezTo>
                  <a:cubicBezTo>
                    <a:pt x="332" y="2239"/>
                    <a:pt x="334" y="2230"/>
                    <a:pt x="334" y="2225"/>
                  </a:cubicBezTo>
                  <a:cubicBezTo>
                    <a:pt x="334" y="2221"/>
                    <a:pt x="334" y="2215"/>
                    <a:pt x="332" y="2211"/>
                  </a:cubicBezTo>
                  <a:cubicBezTo>
                    <a:pt x="330" y="2207"/>
                    <a:pt x="333" y="2204"/>
                    <a:pt x="335" y="2199"/>
                  </a:cubicBezTo>
                  <a:cubicBezTo>
                    <a:pt x="337" y="2194"/>
                    <a:pt x="335" y="2188"/>
                    <a:pt x="334" y="2183"/>
                  </a:cubicBezTo>
                  <a:cubicBezTo>
                    <a:pt x="333" y="2175"/>
                    <a:pt x="334" y="2167"/>
                    <a:pt x="333" y="2159"/>
                  </a:cubicBezTo>
                  <a:cubicBezTo>
                    <a:pt x="332" y="2142"/>
                    <a:pt x="331" y="2124"/>
                    <a:pt x="330" y="2106"/>
                  </a:cubicBezTo>
                  <a:cubicBezTo>
                    <a:pt x="328" y="2086"/>
                    <a:pt x="326" y="2067"/>
                    <a:pt x="324" y="2047"/>
                  </a:cubicBezTo>
                  <a:cubicBezTo>
                    <a:pt x="321" y="2027"/>
                    <a:pt x="323" y="2006"/>
                    <a:pt x="323" y="1985"/>
                  </a:cubicBezTo>
                  <a:cubicBezTo>
                    <a:pt x="322" y="1966"/>
                    <a:pt x="321" y="1947"/>
                    <a:pt x="319" y="1928"/>
                  </a:cubicBezTo>
                  <a:cubicBezTo>
                    <a:pt x="317" y="1902"/>
                    <a:pt x="318" y="1877"/>
                    <a:pt x="316" y="1852"/>
                  </a:cubicBezTo>
                  <a:cubicBezTo>
                    <a:pt x="313" y="1824"/>
                    <a:pt x="309" y="1796"/>
                    <a:pt x="298" y="1770"/>
                  </a:cubicBezTo>
                  <a:cubicBezTo>
                    <a:pt x="294" y="1759"/>
                    <a:pt x="290" y="1752"/>
                    <a:pt x="289" y="1740"/>
                  </a:cubicBezTo>
                  <a:cubicBezTo>
                    <a:pt x="288" y="1729"/>
                    <a:pt x="290" y="1718"/>
                    <a:pt x="289" y="1706"/>
                  </a:cubicBezTo>
                  <a:cubicBezTo>
                    <a:pt x="287" y="1683"/>
                    <a:pt x="283" y="1661"/>
                    <a:pt x="286" y="1638"/>
                  </a:cubicBezTo>
                  <a:cubicBezTo>
                    <a:pt x="289" y="1609"/>
                    <a:pt x="292" y="1580"/>
                    <a:pt x="296" y="1552"/>
                  </a:cubicBezTo>
                  <a:cubicBezTo>
                    <a:pt x="302" y="1520"/>
                    <a:pt x="305" y="1488"/>
                    <a:pt x="309" y="1456"/>
                  </a:cubicBezTo>
                  <a:cubicBezTo>
                    <a:pt x="312" y="1435"/>
                    <a:pt x="315" y="1415"/>
                    <a:pt x="319" y="1394"/>
                  </a:cubicBezTo>
                  <a:cubicBezTo>
                    <a:pt x="320" y="1384"/>
                    <a:pt x="318" y="1375"/>
                    <a:pt x="319" y="1365"/>
                  </a:cubicBezTo>
                  <a:cubicBezTo>
                    <a:pt x="320" y="1355"/>
                    <a:pt x="323" y="1345"/>
                    <a:pt x="322" y="1335"/>
                  </a:cubicBezTo>
                  <a:cubicBezTo>
                    <a:pt x="322" y="1326"/>
                    <a:pt x="322" y="1318"/>
                    <a:pt x="325" y="1309"/>
                  </a:cubicBezTo>
                  <a:cubicBezTo>
                    <a:pt x="327" y="1304"/>
                    <a:pt x="329" y="1292"/>
                    <a:pt x="332" y="1289"/>
                  </a:cubicBezTo>
                  <a:cubicBezTo>
                    <a:pt x="332" y="1290"/>
                    <a:pt x="336" y="1293"/>
                    <a:pt x="337" y="1293"/>
                  </a:cubicBezTo>
                  <a:cubicBezTo>
                    <a:pt x="341" y="1295"/>
                    <a:pt x="343" y="1295"/>
                    <a:pt x="344" y="1300"/>
                  </a:cubicBezTo>
                  <a:cubicBezTo>
                    <a:pt x="347" y="1311"/>
                    <a:pt x="349" y="1323"/>
                    <a:pt x="352" y="1334"/>
                  </a:cubicBezTo>
                  <a:cubicBezTo>
                    <a:pt x="357" y="1354"/>
                    <a:pt x="359" y="1375"/>
                    <a:pt x="361" y="1396"/>
                  </a:cubicBezTo>
                  <a:cubicBezTo>
                    <a:pt x="365" y="1433"/>
                    <a:pt x="372" y="1470"/>
                    <a:pt x="376" y="1507"/>
                  </a:cubicBezTo>
                  <a:cubicBezTo>
                    <a:pt x="378" y="1526"/>
                    <a:pt x="381" y="1544"/>
                    <a:pt x="384" y="1561"/>
                  </a:cubicBezTo>
                  <a:cubicBezTo>
                    <a:pt x="388" y="1578"/>
                    <a:pt x="390" y="1597"/>
                    <a:pt x="396" y="1613"/>
                  </a:cubicBezTo>
                  <a:cubicBezTo>
                    <a:pt x="404" y="1633"/>
                    <a:pt x="411" y="1652"/>
                    <a:pt x="415" y="1674"/>
                  </a:cubicBezTo>
                  <a:cubicBezTo>
                    <a:pt x="418" y="1695"/>
                    <a:pt x="422" y="1715"/>
                    <a:pt x="424" y="1736"/>
                  </a:cubicBezTo>
                  <a:cubicBezTo>
                    <a:pt x="429" y="1768"/>
                    <a:pt x="430" y="1800"/>
                    <a:pt x="433" y="1832"/>
                  </a:cubicBezTo>
                  <a:cubicBezTo>
                    <a:pt x="436" y="1867"/>
                    <a:pt x="440" y="1901"/>
                    <a:pt x="443" y="1936"/>
                  </a:cubicBezTo>
                  <a:cubicBezTo>
                    <a:pt x="447" y="1970"/>
                    <a:pt x="451" y="2004"/>
                    <a:pt x="455" y="2039"/>
                  </a:cubicBezTo>
                  <a:cubicBezTo>
                    <a:pt x="458" y="2067"/>
                    <a:pt x="457" y="2096"/>
                    <a:pt x="459" y="2124"/>
                  </a:cubicBezTo>
                  <a:cubicBezTo>
                    <a:pt x="460" y="2144"/>
                    <a:pt x="468" y="2163"/>
                    <a:pt x="471" y="2183"/>
                  </a:cubicBezTo>
                  <a:cubicBezTo>
                    <a:pt x="472" y="2192"/>
                    <a:pt x="471" y="2201"/>
                    <a:pt x="472" y="2210"/>
                  </a:cubicBezTo>
                  <a:cubicBezTo>
                    <a:pt x="472" y="2218"/>
                    <a:pt x="479" y="2223"/>
                    <a:pt x="478" y="2230"/>
                  </a:cubicBezTo>
                  <a:cubicBezTo>
                    <a:pt x="477" y="2234"/>
                    <a:pt x="478" y="2238"/>
                    <a:pt x="477" y="2243"/>
                  </a:cubicBezTo>
                  <a:cubicBezTo>
                    <a:pt x="477" y="2246"/>
                    <a:pt x="473" y="2245"/>
                    <a:pt x="471" y="2246"/>
                  </a:cubicBezTo>
                  <a:cubicBezTo>
                    <a:pt x="469" y="2248"/>
                    <a:pt x="469" y="2256"/>
                    <a:pt x="469" y="2259"/>
                  </a:cubicBezTo>
                  <a:cubicBezTo>
                    <a:pt x="468" y="2266"/>
                    <a:pt x="468" y="2274"/>
                    <a:pt x="468" y="2282"/>
                  </a:cubicBezTo>
                  <a:cubicBezTo>
                    <a:pt x="467" y="2289"/>
                    <a:pt x="468" y="2295"/>
                    <a:pt x="476" y="2298"/>
                  </a:cubicBezTo>
                  <a:cubicBezTo>
                    <a:pt x="480" y="2300"/>
                    <a:pt x="484" y="2303"/>
                    <a:pt x="489" y="2304"/>
                  </a:cubicBezTo>
                  <a:cubicBezTo>
                    <a:pt x="491" y="2305"/>
                    <a:pt x="497" y="2301"/>
                    <a:pt x="498" y="2302"/>
                  </a:cubicBezTo>
                  <a:cubicBezTo>
                    <a:pt x="501" y="2305"/>
                    <a:pt x="488" y="2317"/>
                    <a:pt x="497" y="2323"/>
                  </a:cubicBezTo>
                  <a:cubicBezTo>
                    <a:pt x="505" y="2329"/>
                    <a:pt x="519" y="2329"/>
                    <a:pt x="529" y="2330"/>
                  </a:cubicBezTo>
                  <a:cubicBezTo>
                    <a:pt x="550" y="2334"/>
                    <a:pt x="572" y="2335"/>
                    <a:pt x="594" y="2334"/>
                  </a:cubicBezTo>
                  <a:cubicBezTo>
                    <a:pt x="607" y="2333"/>
                    <a:pt x="620" y="2331"/>
                    <a:pt x="634" y="2331"/>
                  </a:cubicBezTo>
                  <a:cubicBezTo>
                    <a:pt x="645" y="2331"/>
                    <a:pt x="640" y="2319"/>
                    <a:pt x="634" y="2314"/>
                  </a:cubicBezTo>
                  <a:cubicBezTo>
                    <a:pt x="631" y="2312"/>
                    <a:pt x="630" y="2313"/>
                    <a:pt x="630" y="2309"/>
                  </a:cubicBezTo>
                  <a:cubicBezTo>
                    <a:pt x="630" y="2304"/>
                    <a:pt x="630" y="2298"/>
                    <a:pt x="629" y="2293"/>
                  </a:cubicBezTo>
                  <a:cubicBezTo>
                    <a:pt x="625" y="2283"/>
                    <a:pt x="615" y="2275"/>
                    <a:pt x="611" y="2265"/>
                  </a:cubicBezTo>
                  <a:cubicBezTo>
                    <a:pt x="606" y="2255"/>
                    <a:pt x="597" y="2249"/>
                    <a:pt x="594" y="2238"/>
                  </a:cubicBezTo>
                  <a:cubicBezTo>
                    <a:pt x="590" y="2228"/>
                    <a:pt x="591" y="2228"/>
                    <a:pt x="597" y="2219"/>
                  </a:cubicBezTo>
                  <a:cubicBezTo>
                    <a:pt x="604" y="2208"/>
                    <a:pt x="600" y="2196"/>
                    <a:pt x="598" y="2184"/>
                  </a:cubicBezTo>
                  <a:cubicBezTo>
                    <a:pt x="596" y="2174"/>
                    <a:pt x="595" y="2163"/>
                    <a:pt x="594" y="2152"/>
                  </a:cubicBezTo>
                  <a:cubicBezTo>
                    <a:pt x="592" y="2132"/>
                    <a:pt x="584" y="2106"/>
                    <a:pt x="593" y="2087"/>
                  </a:cubicBezTo>
                  <a:cubicBezTo>
                    <a:pt x="599" y="2074"/>
                    <a:pt x="597" y="2057"/>
                    <a:pt x="598" y="2043"/>
                  </a:cubicBezTo>
                  <a:cubicBezTo>
                    <a:pt x="598" y="2006"/>
                    <a:pt x="597" y="1969"/>
                    <a:pt x="596" y="1932"/>
                  </a:cubicBezTo>
                  <a:cubicBezTo>
                    <a:pt x="596" y="1891"/>
                    <a:pt x="595" y="1851"/>
                    <a:pt x="591" y="1810"/>
                  </a:cubicBezTo>
                  <a:cubicBezTo>
                    <a:pt x="590" y="1792"/>
                    <a:pt x="587" y="1773"/>
                    <a:pt x="586" y="1754"/>
                  </a:cubicBezTo>
                  <a:cubicBezTo>
                    <a:pt x="584" y="1732"/>
                    <a:pt x="585" y="1711"/>
                    <a:pt x="582" y="1689"/>
                  </a:cubicBezTo>
                  <a:cubicBezTo>
                    <a:pt x="579" y="1666"/>
                    <a:pt x="583" y="1642"/>
                    <a:pt x="584" y="1619"/>
                  </a:cubicBezTo>
                  <a:cubicBezTo>
                    <a:pt x="584" y="1586"/>
                    <a:pt x="589" y="1553"/>
                    <a:pt x="592" y="1520"/>
                  </a:cubicBezTo>
                  <a:cubicBezTo>
                    <a:pt x="596" y="1465"/>
                    <a:pt x="584" y="1412"/>
                    <a:pt x="584" y="1357"/>
                  </a:cubicBezTo>
                  <a:cubicBezTo>
                    <a:pt x="584" y="1352"/>
                    <a:pt x="583" y="1341"/>
                    <a:pt x="588" y="1338"/>
                  </a:cubicBezTo>
                  <a:cubicBezTo>
                    <a:pt x="592" y="1336"/>
                    <a:pt x="597" y="1335"/>
                    <a:pt x="601" y="1332"/>
                  </a:cubicBezTo>
                  <a:cubicBezTo>
                    <a:pt x="607" y="1329"/>
                    <a:pt x="615" y="1328"/>
                    <a:pt x="619" y="1324"/>
                  </a:cubicBezTo>
                  <a:cubicBezTo>
                    <a:pt x="622" y="1321"/>
                    <a:pt x="624" y="1319"/>
                    <a:pt x="629" y="1319"/>
                  </a:cubicBezTo>
                  <a:cubicBezTo>
                    <a:pt x="635" y="1318"/>
                    <a:pt x="636" y="1314"/>
                    <a:pt x="637" y="1309"/>
                  </a:cubicBezTo>
                  <a:cubicBezTo>
                    <a:pt x="639" y="1305"/>
                    <a:pt x="641" y="1304"/>
                    <a:pt x="645" y="1302"/>
                  </a:cubicBezTo>
                  <a:cubicBezTo>
                    <a:pt x="651" y="1300"/>
                    <a:pt x="652" y="1293"/>
                    <a:pt x="654" y="1288"/>
                  </a:cubicBezTo>
                  <a:cubicBezTo>
                    <a:pt x="656" y="1278"/>
                    <a:pt x="657" y="1268"/>
                    <a:pt x="660" y="1258"/>
                  </a:cubicBezTo>
                  <a:cubicBezTo>
                    <a:pt x="663" y="1247"/>
                    <a:pt x="661" y="1232"/>
                    <a:pt x="661" y="1220"/>
                  </a:cubicBezTo>
                  <a:cubicBezTo>
                    <a:pt x="661" y="1218"/>
                    <a:pt x="659" y="1207"/>
                    <a:pt x="661" y="1207"/>
                  </a:cubicBezTo>
                  <a:cubicBezTo>
                    <a:pt x="663" y="1207"/>
                    <a:pt x="666" y="1205"/>
                    <a:pt x="665" y="1203"/>
                  </a:cubicBezTo>
                  <a:cubicBezTo>
                    <a:pt x="665" y="1200"/>
                    <a:pt x="663" y="1199"/>
                    <a:pt x="663" y="1196"/>
                  </a:cubicBezTo>
                  <a:cubicBezTo>
                    <a:pt x="664" y="1189"/>
                    <a:pt x="667" y="1185"/>
                    <a:pt x="667" y="1178"/>
                  </a:cubicBezTo>
                  <a:cubicBezTo>
                    <a:pt x="666" y="1173"/>
                    <a:pt x="666" y="1167"/>
                    <a:pt x="663" y="1164"/>
                  </a:cubicBezTo>
                  <a:cubicBezTo>
                    <a:pt x="659" y="1158"/>
                    <a:pt x="664" y="1160"/>
                    <a:pt x="667" y="1156"/>
                  </a:cubicBezTo>
                  <a:cubicBezTo>
                    <a:pt x="671" y="1150"/>
                    <a:pt x="670" y="1138"/>
                    <a:pt x="668" y="1131"/>
                  </a:cubicBezTo>
                  <a:cubicBezTo>
                    <a:pt x="667" y="1127"/>
                    <a:pt x="665" y="1127"/>
                    <a:pt x="663" y="1123"/>
                  </a:cubicBezTo>
                  <a:cubicBezTo>
                    <a:pt x="661" y="1119"/>
                    <a:pt x="667" y="1112"/>
                    <a:pt x="669" y="1109"/>
                  </a:cubicBezTo>
                  <a:cubicBezTo>
                    <a:pt x="671" y="1103"/>
                    <a:pt x="673" y="1096"/>
                    <a:pt x="671" y="1089"/>
                  </a:cubicBezTo>
                  <a:cubicBezTo>
                    <a:pt x="670" y="1082"/>
                    <a:pt x="664" y="1076"/>
                    <a:pt x="667" y="1068"/>
                  </a:cubicBezTo>
                  <a:cubicBezTo>
                    <a:pt x="670" y="1062"/>
                    <a:pt x="674" y="1058"/>
                    <a:pt x="675" y="1052"/>
                  </a:cubicBezTo>
                  <a:cubicBezTo>
                    <a:pt x="676" y="1046"/>
                    <a:pt x="676" y="1041"/>
                    <a:pt x="676" y="1035"/>
                  </a:cubicBezTo>
                  <a:cubicBezTo>
                    <a:pt x="676" y="1022"/>
                    <a:pt x="680" y="1011"/>
                    <a:pt x="676" y="998"/>
                  </a:cubicBezTo>
                  <a:moveTo>
                    <a:pt x="95" y="1318"/>
                  </a:moveTo>
                  <a:cubicBezTo>
                    <a:pt x="91" y="1319"/>
                    <a:pt x="87" y="1323"/>
                    <a:pt x="86" y="1318"/>
                  </a:cubicBezTo>
                  <a:cubicBezTo>
                    <a:pt x="85" y="1310"/>
                    <a:pt x="85" y="1301"/>
                    <a:pt x="82" y="1294"/>
                  </a:cubicBezTo>
                  <a:cubicBezTo>
                    <a:pt x="80" y="1292"/>
                    <a:pt x="82" y="1291"/>
                    <a:pt x="83" y="1290"/>
                  </a:cubicBezTo>
                  <a:cubicBezTo>
                    <a:pt x="84" y="1286"/>
                    <a:pt x="81" y="1281"/>
                    <a:pt x="81" y="1278"/>
                  </a:cubicBezTo>
                  <a:cubicBezTo>
                    <a:pt x="80" y="1272"/>
                    <a:pt x="79" y="1266"/>
                    <a:pt x="86" y="1265"/>
                  </a:cubicBezTo>
                  <a:cubicBezTo>
                    <a:pt x="87" y="1265"/>
                    <a:pt x="94" y="1260"/>
                    <a:pt x="95" y="1262"/>
                  </a:cubicBezTo>
                  <a:cubicBezTo>
                    <a:pt x="98" y="1267"/>
                    <a:pt x="96" y="1278"/>
                    <a:pt x="96" y="1283"/>
                  </a:cubicBezTo>
                  <a:cubicBezTo>
                    <a:pt x="97" y="1291"/>
                    <a:pt x="97" y="1299"/>
                    <a:pt x="98" y="1307"/>
                  </a:cubicBezTo>
                  <a:cubicBezTo>
                    <a:pt x="99" y="1313"/>
                    <a:pt x="102" y="1316"/>
                    <a:pt x="95" y="1318"/>
                  </a:cubicBezTo>
                  <a:moveTo>
                    <a:pt x="146" y="764"/>
                  </a:moveTo>
                  <a:cubicBezTo>
                    <a:pt x="146" y="772"/>
                    <a:pt x="143" y="781"/>
                    <a:pt x="142" y="790"/>
                  </a:cubicBezTo>
                  <a:cubicBezTo>
                    <a:pt x="141" y="800"/>
                    <a:pt x="143" y="810"/>
                    <a:pt x="145" y="821"/>
                  </a:cubicBezTo>
                  <a:cubicBezTo>
                    <a:pt x="146" y="828"/>
                    <a:pt x="147" y="836"/>
                    <a:pt x="145" y="844"/>
                  </a:cubicBezTo>
                  <a:cubicBezTo>
                    <a:pt x="144" y="853"/>
                    <a:pt x="140" y="862"/>
                    <a:pt x="139" y="872"/>
                  </a:cubicBezTo>
                  <a:cubicBezTo>
                    <a:pt x="139" y="882"/>
                    <a:pt x="139" y="893"/>
                    <a:pt x="138" y="904"/>
                  </a:cubicBezTo>
                  <a:cubicBezTo>
                    <a:pt x="137" y="913"/>
                    <a:pt x="134" y="922"/>
                    <a:pt x="135" y="931"/>
                  </a:cubicBezTo>
                  <a:cubicBezTo>
                    <a:pt x="135" y="940"/>
                    <a:pt x="142" y="948"/>
                    <a:pt x="139" y="958"/>
                  </a:cubicBezTo>
                  <a:cubicBezTo>
                    <a:pt x="137" y="969"/>
                    <a:pt x="131" y="980"/>
                    <a:pt x="128" y="991"/>
                  </a:cubicBezTo>
                  <a:cubicBezTo>
                    <a:pt x="125" y="999"/>
                    <a:pt x="123" y="1007"/>
                    <a:pt x="122" y="1016"/>
                  </a:cubicBezTo>
                  <a:cubicBezTo>
                    <a:pt x="120" y="1023"/>
                    <a:pt x="116" y="1029"/>
                    <a:pt x="114" y="1036"/>
                  </a:cubicBezTo>
                  <a:cubicBezTo>
                    <a:pt x="110" y="1050"/>
                    <a:pt x="108" y="1065"/>
                    <a:pt x="106" y="1080"/>
                  </a:cubicBezTo>
                  <a:cubicBezTo>
                    <a:pt x="104" y="1087"/>
                    <a:pt x="96" y="1090"/>
                    <a:pt x="104" y="1095"/>
                  </a:cubicBezTo>
                  <a:cubicBezTo>
                    <a:pt x="108" y="1099"/>
                    <a:pt x="104" y="1113"/>
                    <a:pt x="103" y="1118"/>
                  </a:cubicBezTo>
                  <a:cubicBezTo>
                    <a:pt x="103" y="1120"/>
                    <a:pt x="101" y="1141"/>
                    <a:pt x="99" y="1142"/>
                  </a:cubicBezTo>
                  <a:cubicBezTo>
                    <a:pt x="96" y="1142"/>
                    <a:pt x="91" y="1128"/>
                    <a:pt x="91" y="1125"/>
                  </a:cubicBezTo>
                  <a:cubicBezTo>
                    <a:pt x="91" y="1119"/>
                    <a:pt x="92" y="1114"/>
                    <a:pt x="93" y="1108"/>
                  </a:cubicBezTo>
                  <a:cubicBezTo>
                    <a:pt x="93" y="1104"/>
                    <a:pt x="91" y="1099"/>
                    <a:pt x="92" y="1095"/>
                  </a:cubicBezTo>
                  <a:cubicBezTo>
                    <a:pt x="98" y="1080"/>
                    <a:pt x="100" y="1065"/>
                    <a:pt x="104" y="1050"/>
                  </a:cubicBezTo>
                  <a:cubicBezTo>
                    <a:pt x="106" y="1042"/>
                    <a:pt x="108" y="1034"/>
                    <a:pt x="110" y="1026"/>
                  </a:cubicBezTo>
                  <a:cubicBezTo>
                    <a:pt x="112" y="1018"/>
                    <a:pt x="118" y="1008"/>
                    <a:pt x="117" y="1000"/>
                  </a:cubicBezTo>
                  <a:cubicBezTo>
                    <a:pt x="117" y="994"/>
                    <a:pt x="115" y="988"/>
                    <a:pt x="117" y="982"/>
                  </a:cubicBezTo>
                  <a:cubicBezTo>
                    <a:pt x="118" y="977"/>
                    <a:pt x="120" y="973"/>
                    <a:pt x="121" y="969"/>
                  </a:cubicBezTo>
                  <a:cubicBezTo>
                    <a:pt x="123" y="958"/>
                    <a:pt x="122" y="947"/>
                    <a:pt x="124" y="936"/>
                  </a:cubicBezTo>
                  <a:cubicBezTo>
                    <a:pt x="126" y="924"/>
                    <a:pt x="130" y="918"/>
                    <a:pt x="126" y="906"/>
                  </a:cubicBezTo>
                  <a:cubicBezTo>
                    <a:pt x="124" y="897"/>
                    <a:pt x="129" y="888"/>
                    <a:pt x="132" y="879"/>
                  </a:cubicBezTo>
                  <a:cubicBezTo>
                    <a:pt x="135" y="868"/>
                    <a:pt x="133" y="860"/>
                    <a:pt x="133" y="849"/>
                  </a:cubicBezTo>
                  <a:cubicBezTo>
                    <a:pt x="132" y="842"/>
                    <a:pt x="129" y="832"/>
                    <a:pt x="131" y="825"/>
                  </a:cubicBezTo>
                  <a:cubicBezTo>
                    <a:pt x="137" y="805"/>
                    <a:pt x="133" y="784"/>
                    <a:pt x="137" y="764"/>
                  </a:cubicBezTo>
                  <a:cubicBezTo>
                    <a:pt x="140" y="753"/>
                    <a:pt x="142" y="743"/>
                    <a:pt x="144" y="733"/>
                  </a:cubicBezTo>
                  <a:cubicBezTo>
                    <a:pt x="144" y="731"/>
                    <a:pt x="145" y="722"/>
                    <a:pt x="147" y="720"/>
                  </a:cubicBezTo>
                  <a:cubicBezTo>
                    <a:pt x="147" y="721"/>
                    <a:pt x="147" y="731"/>
                    <a:pt x="147" y="732"/>
                  </a:cubicBezTo>
                  <a:cubicBezTo>
                    <a:pt x="147" y="736"/>
                    <a:pt x="148" y="738"/>
                    <a:pt x="148" y="742"/>
                  </a:cubicBezTo>
                  <a:cubicBezTo>
                    <a:pt x="150" y="749"/>
                    <a:pt x="147" y="756"/>
                    <a:pt x="146" y="764"/>
                  </a:cubicBezTo>
                  <a:moveTo>
                    <a:pt x="565" y="1169"/>
                  </a:moveTo>
                  <a:cubicBezTo>
                    <a:pt x="567" y="1152"/>
                    <a:pt x="564" y="1133"/>
                    <a:pt x="562" y="1116"/>
                  </a:cubicBezTo>
                  <a:cubicBezTo>
                    <a:pt x="561" y="1109"/>
                    <a:pt x="557" y="1103"/>
                    <a:pt x="563" y="1097"/>
                  </a:cubicBezTo>
                  <a:cubicBezTo>
                    <a:pt x="565" y="1095"/>
                    <a:pt x="571" y="1093"/>
                    <a:pt x="567" y="1088"/>
                  </a:cubicBezTo>
                  <a:cubicBezTo>
                    <a:pt x="564" y="1085"/>
                    <a:pt x="562" y="1087"/>
                    <a:pt x="561" y="1083"/>
                  </a:cubicBezTo>
                  <a:cubicBezTo>
                    <a:pt x="555" y="1062"/>
                    <a:pt x="549" y="1042"/>
                    <a:pt x="546" y="1020"/>
                  </a:cubicBezTo>
                  <a:cubicBezTo>
                    <a:pt x="543" y="994"/>
                    <a:pt x="534" y="969"/>
                    <a:pt x="535" y="943"/>
                  </a:cubicBezTo>
                  <a:cubicBezTo>
                    <a:pt x="535" y="924"/>
                    <a:pt x="533" y="904"/>
                    <a:pt x="533" y="885"/>
                  </a:cubicBezTo>
                  <a:cubicBezTo>
                    <a:pt x="533" y="863"/>
                    <a:pt x="534" y="840"/>
                    <a:pt x="534" y="817"/>
                  </a:cubicBezTo>
                  <a:cubicBezTo>
                    <a:pt x="534" y="797"/>
                    <a:pt x="533" y="778"/>
                    <a:pt x="534" y="758"/>
                  </a:cubicBezTo>
                  <a:cubicBezTo>
                    <a:pt x="534" y="750"/>
                    <a:pt x="534" y="741"/>
                    <a:pt x="535" y="733"/>
                  </a:cubicBezTo>
                  <a:cubicBezTo>
                    <a:pt x="536" y="728"/>
                    <a:pt x="537" y="722"/>
                    <a:pt x="537" y="717"/>
                  </a:cubicBezTo>
                  <a:cubicBezTo>
                    <a:pt x="537" y="715"/>
                    <a:pt x="537" y="710"/>
                    <a:pt x="538" y="709"/>
                  </a:cubicBezTo>
                  <a:cubicBezTo>
                    <a:pt x="537" y="710"/>
                    <a:pt x="545" y="727"/>
                    <a:pt x="546" y="729"/>
                  </a:cubicBezTo>
                  <a:cubicBezTo>
                    <a:pt x="549" y="739"/>
                    <a:pt x="549" y="749"/>
                    <a:pt x="550" y="760"/>
                  </a:cubicBezTo>
                  <a:cubicBezTo>
                    <a:pt x="550" y="769"/>
                    <a:pt x="551" y="778"/>
                    <a:pt x="553" y="787"/>
                  </a:cubicBezTo>
                  <a:cubicBezTo>
                    <a:pt x="555" y="799"/>
                    <a:pt x="553" y="810"/>
                    <a:pt x="555" y="822"/>
                  </a:cubicBezTo>
                  <a:cubicBezTo>
                    <a:pt x="556" y="836"/>
                    <a:pt x="554" y="848"/>
                    <a:pt x="554" y="862"/>
                  </a:cubicBezTo>
                  <a:cubicBezTo>
                    <a:pt x="553" y="874"/>
                    <a:pt x="555" y="887"/>
                    <a:pt x="557" y="899"/>
                  </a:cubicBezTo>
                  <a:cubicBezTo>
                    <a:pt x="558" y="908"/>
                    <a:pt x="559" y="916"/>
                    <a:pt x="562" y="925"/>
                  </a:cubicBezTo>
                  <a:cubicBezTo>
                    <a:pt x="566" y="936"/>
                    <a:pt x="565" y="952"/>
                    <a:pt x="566" y="964"/>
                  </a:cubicBezTo>
                  <a:cubicBezTo>
                    <a:pt x="566" y="978"/>
                    <a:pt x="572" y="989"/>
                    <a:pt x="573" y="1003"/>
                  </a:cubicBezTo>
                  <a:cubicBezTo>
                    <a:pt x="575" y="1015"/>
                    <a:pt x="575" y="1027"/>
                    <a:pt x="577" y="1038"/>
                  </a:cubicBezTo>
                  <a:cubicBezTo>
                    <a:pt x="579" y="1047"/>
                    <a:pt x="577" y="1053"/>
                    <a:pt x="575" y="1062"/>
                  </a:cubicBezTo>
                  <a:cubicBezTo>
                    <a:pt x="574" y="1072"/>
                    <a:pt x="580" y="1081"/>
                    <a:pt x="578" y="1090"/>
                  </a:cubicBezTo>
                  <a:cubicBezTo>
                    <a:pt x="578" y="1097"/>
                    <a:pt x="576" y="1103"/>
                    <a:pt x="576" y="1109"/>
                  </a:cubicBezTo>
                  <a:cubicBezTo>
                    <a:pt x="576" y="1115"/>
                    <a:pt x="578" y="1122"/>
                    <a:pt x="576" y="1127"/>
                  </a:cubicBezTo>
                  <a:cubicBezTo>
                    <a:pt x="574" y="1134"/>
                    <a:pt x="574" y="1136"/>
                    <a:pt x="578" y="1142"/>
                  </a:cubicBezTo>
                  <a:cubicBezTo>
                    <a:pt x="580" y="1144"/>
                    <a:pt x="584" y="1147"/>
                    <a:pt x="583" y="1150"/>
                  </a:cubicBezTo>
                  <a:cubicBezTo>
                    <a:pt x="582" y="1154"/>
                    <a:pt x="580" y="1158"/>
                    <a:pt x="578" y="1161"/>
                  </a:cubicBezTo>
                  <a:cubicBezTo>
                    <a:pt x="577" y="1163"/>
                    <a:pt x="571" y="1167"/>
                    <a:pt x="571" y="1167"/>
                  </a:cubicBezTo>
                  <a:cubicBezTo>
                    <a:pt x="571" y="1171"/>
                    <a:pt x="572" y="1173"/>
                    <a:pt x="568" y="1177"/>
                  </a:cubicBezTo>
                  <a:cubicBezTo>
                    <a:pt x="564" y="1180"/>
                    <a:pt x="565" y="1171"/>
                    <a:pt x="565" y="1169"/>
                  </a:cubicBezTo>
                  <a:moveTo>
                    <a:pt x="584" y="1252"/>
                  </a:moveTo>
                  <a:cubicBezTo>
                    <a:pt x="580" y="1259"/>
                    <a:pt x="583" y="1265"/>
                    <a:pt x="583" y="1271"/>
                  </a:cubicBezTo>
                  <a:cubicBezTo>
                    <a:pt x="583" y="1273"/>
                    <a:pt x="578" y="1289"/>
                    <a:pt x="579" y="1290"/>
                  </a:cubicBezTo>
                  <a:cubicBezTo>
                    <a:pt x="576" y="1288"/>
                    <a:pt x="576" y="1279"/>
                    <a:pt x="575" y="1276"/>
                  </a:cubicBezTo>
                  <a:cubicBezTo>
                    <a:pt x="574" y="1271"/>
                    <a:pt x="572" y="1266"/>
                    <a:pt x="572" y="1261"/>
                  </a:cubicBezTo>
                  <a:cubicBezTo>
                    <a:pt x="571" y="1257"/>
                    <a:pt x="569" y="1244"/>
                    <a:pt x="575" y="1242"/>
                  </a:cubicBezTo>
                  <a:cubicBezTo>
                    <a:pt x="577" y="1241"/>
                    <a:pt x="585" y="1249"/>
                    <a:pt x="584" y="1252"/>
                  </a:cubicBezTo>
                </a:path>
              </a:pathLst>
            </a:custGeom>
            <a:solidFill>
              <a:schemeClr val="tx1"/>
            </a:solidFill>
            <a:ln w="15875" cap="flat">
              <a:noFill/>
              <a:prstDash val="solid"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lIns="321064" tIns="160532" rIns="321064" bIns="160532"/>
            <a:lstStyle/>
            <a:p>
              <a:pPr defTabSz="321064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800" kern="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947" name="Gruppieren 281">
              <a:extLst>
                <a:ext uri="{FF2B5EF4-FFF2-40B4-BE49-F238E27FC236}">
                  <a16:creationId xmlns:a16="http://schemas.microsoft.com/office/drawing/2014/main" id="{B6FA1459-D8C5-4523-B44A-D3236CFF0050}"/>
                </a:ext>
              </a:extLst>
            </p:cNvPr>
            <p:cNvGrpSpPr/>
            <p:nvPr/>
          </p:nvGrpSpPr>
          <p:grpSpPr>
            <a:xfrm>
              <a:off x="2739987" y="3833767"/>
              <a:ext cx="159492" cy="328959"/>
              <a:chOff x="2519371" y="955678"/>
              <a:chExt cx="1695457" cy="4968890"/>
            </a:xfrm>
            <a:solidFill>
              <a:schemeClr val="tx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948" name="Freeform 156">
                <a:extLst>
                  <a:ext uri="{FF2B5EF4-FFF2-40B4-BE49-F238E27FC236}">
                    <a16:creationId xmlns:a16="http://schemas.microsoft.com/office/drawing/2014/main" id="{05A487B6-BC48-405E-8150-55C01ABCF8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4626" y="3435360"/>
                <a:ext cx="269878" cy="404813"/>
              </a:xfrm>
              <a:custGeom>
                <a:avLst/>
                <a:gdLst>
                  <a:gd name="T0" fmla="*/ 29 w 72"/>
                  <a:gd name="T1" fmla="*/ 0 h 108"/>
                  <a:gd name="T2" fmla="*/ 37 w 72"/>
                  <a:gd name="T3" fmla="*/ 0 h 108"/>
                  <a:gd name="T4" fmla="*/ 68 w 72"/>
                  <a:gd name="T5" fmla="*/ 6 h 108"/>
                  <a:gd name="T6" fmla="*/ 70 w 72"/>
                  <a:gd name="T7" fmla="*/ 58 h 108"/>
                  <a:gd name="T8" fmla="*/ 60 w 72"/>
                  <a:gd name="T9" fmla="*/ 78 h 108"/>
                  <a:gd name="T10" fmla="*/ 14 w 72"/>
                  <a:gd name="T11" fmla="*/ 108 h 108"/>
                  <a:gd name="T12" fmla="*/ 5 w 72"/>
                  <a:gd name="T13" fmla="*/ 102 h 108"/>
                  <a:gd name="T14" fmla="*/ 13 w 72"/>
                  <a:gd name="T15" fmla="*/ 80 h 108"/>
                  <a:gd name="T16" fmla="*/ 15 w 72"/>
                  <a:gd name="T17" fmla="*/ 6 h 108"/>
                  <a:gd name="T18" fmla="*/ 29 w 72"/>
                  <a:gd name="T19" fmla="*/ 0 h 108"/>
                  <a:gd name="T20" fmla="*/ 28 w 72"/>
                  <a:gd name="T21" fmla="*/ 81 h 108"/>
                  <a:gd name="T22" fmla="*/ 41 w 72"/>
                  <a:gd name="T23" fmla="*/ 53 h 108"/>
                  <a:gd name="T24" fmla="*/ 33 w 72"/>
                  <a:gd name="T25" fmla="*/ 51 h 108"/>
                  <a:gd name="T26" fmla="*/ 28 w 72"/>
                  <a:gd name="T27" fmla="*/ 8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08">
                    <a:moveTo>
                      <a:pt x="29" y="0"/>
                    </a:moveTo>
                    <a:cubicBezTo>
                      <a:pt x="32" y="0"/>
                      <a:pt x="34" y="0"/>
                      <a:pt x="37" y="0"/>
                    </a:cubicBezTo>
                    <a:cubicBezTo>
                      <a:pt x="45" y="3"/>
                      <a:pt x="60" y="2"/>
                      <a:pt x="68" y="6"/>
                    </a:cubicBezTo>
                    <a:cubicBezTo>
                      <a:pt x="67" y="23"/>
                      <a:pt x="72" y="43"/>
                      <a:pt x="70" y="58"/>
                    </a:cubicBezTo>
                    <a:cubicBezTo>
                      <a:pt x="68" y="65"/>
                      <a:pt x="63" y="72"/>
                      <a:pt x="60" y="78"/>
                    </a:cubicBezTo>
                    <a:cubicBezTo>
                      <a:pt x="49" y="98"/>
                      <a:pt x="39" y="102"/>
                      <a:pt x="14" y="108"/>
                    </a:cubicBezTo>
                    <a:cubicBezTo>
                      <a:pt x="17" y="101"/>
                      <a:pt x="5" y="107"/>
                      <a:pt x="5" y="102"/>
                    </a:cubicBezTo>
                    <a:cubicBezTo>
                      <a:pt x="0" y="90"/>
                      <a:pt x="6" y="87"/>
                      <a:pt x="13" y="80"/>
                    </a:cubicBezTo>
                    <a:cubicBezTo>
                      <a:pt x="15" y="57"/>
                      <a:pt x="13" y="28"/>
                      <a:pt x="15" y="6"/>
                    </a:cubicBezTo>
                    <a:cubicBezTo>
                      <a:pt x="20" y="3"/>
                      <a:pt x="29" y="6"/>
                      <a:pt x="29" y="0"/>
                    </a:cubicBezTo>
                    <a:close/>
                    <a:moveTo>
                      <a:pt x="28" y="81"/>
                    </a:moveTo>
                    <a:cubicBezTo>
                      <a:pt x="41" y="81"/>
                      <a:pt x="43" y="67"/>
                      <a:pt x="41" y="53"/>
                    </a:cubicBezTo>
                    <a:cubicBezTo>
                      <a:pt x="37" y="54"/>
                      <a:pt x="37" y="51"/>
                      <a:pt x="33" y="51"/>
                    </a:cubicBezTo>
                    <a:cubicBezTo>
                      <a:pt x="30" y="61"/>
                      <a:pt x="32" y="75"/>
                      <a:pt x="28" y="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49" name="Freeform 159">
                <a:extLst>
                  <a:ext uri="{FF2B5EF4-FFF2-40B4-BE49-F238E27FC236}">
                    <a16:creationId xmlns:a16="http://schemas.microsoft.com/office/drawing/2014/main" id="{5DE87EAD-FB1E-4FC9-B2F8-89A5C681E5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75" y="5519755"/>
                <a:ext cx="539752" cy="404813"/>
              </a:xfrm>
              <a:custGeom>
                <a:avLst/>
                <a:gdLst>
                  <a:gd name="T0" fmla="*/ 19 w 144"/>
                  <a:gd name="T1" fmla="*/ 0 h 108"/>
                  <a:gd name="T2" fmla="*/ 21 w 144"/>
                  <a:gd name="T3" fmla="*/ 0 h 108"/>
                  <a:gd name="T4" fmla="*/ 55 w 144"/>
                  <a:gd name="T5" fmla="*/ 19 h 108"/>
                  <a:gd name="T6" fmla="*/ 139 w 144"/>
                  <a:gd name="T7" fmla="*/ 47 h 108"/>
                  <a:gd name="T8" fmla="*/ 144 w 144"/>
                  <a:gd name="T9" fmla="*/ 62 h 108"/>
                  <a:gd name="T10" fmla="*/ 144 w 144"/>
                  <a:gd name="T11" fmla="*/ 66 h 108"/>
                  <a:gd name="T12" fmla="*/ 137 w 144"/>
                  <a:gd name="T13" fmla="*/ 88 h 108"/>
                  <a:gd name="T14" fmla="*/ 105 w 144"/>
                  <a:gd name="T15" fmla="*/ 91 h 108"/>
                  <a:gd name="T16" fmla="*/ 100 w 144"/>
                  <a:gd name="T17" fmla="*/ 103 h 108"/>
                  <a:gd name="T18" fmla="*/ 90 w 144"/>
                  <a:gd name="T19" fmla="*/ 108 h 108"/>
                  <a:gd name="T20" fmla="*/ 82 w 144"/>
                  <a:gd name="T21" fmla="*/ 108 h 108"/>
                  <a:gd name="T22" fmla="*/ 31 w 144"/>
                  <a:gd name="T23" fmla="*/ 100 h 108"/>
                  <a:gd name="T24" fmla="*/ 32 w 144"/>
                  <a:gd name="T25" fmla="*/ 73 h 108"/>
                  <a:gd name="T26" fmla="*/ 0 w 144"/>
                  <a:gd name="T27" fmla="*/ 65 h 108"/>
                  <a:gd name="T28" fmla="*/ 0 w 144"/>
                  <a:gd name="T29" fmla="*/ 51 h 108"/>
                  <a:gd name="T30" fmla="*/ 11 w 144"/>
                  <a:gd name="T31" fmla="*/ 12 h 108"/>
                  <a:gd name="T32" fmla="*/ 19 w 144"/>
                  <a:gd name="T3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9" y="0"/>
                    </a:moveTo>
                    <a:cubicBezTo>
                      <a:pt x="19" y="0"/>
                      <a:pt x="20" y="0"/>
                      <a:pt x="21" y="0"/>
                    </a:cubicBezTo>
                    <a:cubicBezTo>
                      <a:pt x="33" y="7"/>
                      <a:pt x="45" y="13"/>
                      <a:pt x="55" y="19"/>
                    </a:cubicBezTo>
                    <a:cubicBezTo>
                      <a:pt x="92" y="2"/>
                      <a:pt x="120" y="31"/>
                      <a:pt x="139" y="47"/>
                    </a:cubicBezTo>
                    <a:cubicBezTo>
                      <a:pt x="141" y="52"/>
                      <a:pt x="141" y="58"/>
                      <a:pt x="144" y="62"/>
                    </a:cubicBezTo>
                    <a:cubicBezTo>
                      <a:pt x="144" y="63"/>
                      <a:pt x="144" y="65"/>
                      <a:pt x="144" y="66"/>
                    </a:cubicBezTo>
                    <a:cubicBezTo>
                      <a:pt x="142" y="75"/>
                      <a:pt x="141" y="83"/>
                      <a:pt x="137" y="88"/>
                    </a:cubicBezTo>
                    <a:cubicBezTo>
                      <a:pt x="124" y="87"/>
                      <a:pt x="117" y="91"/>
                      <a:pt x="105" y="91"/>
                    </a:cubicBezTo>
                    <a:cubicBezTo>
                      <a:pt x="99" y="91"/>
                      <a:pt x="104" y="101"/>
                      <a:pt x="100" y="103"/>
                    </a:cubicBezTo>
                    <a:cubicBezTo>
                      <a:pt x="96" y="105"/>
                      <a:pt x="91" y="106"/>
                      <a:pt x="90" y="108"/>
                    </a:cubicBezTo>
                    <a:cubicBezTo>
                      <a:pt x="87" y="108"/>
                      <a:pt x="84" y="108"/>
                      <a:pt x="82" y="108"/>
                    </a:cubicBezTo>
                    <a:cubicBezTo>
                      <a:pt x="66" y="105"/>
                      <a:pt x="41" y="108"/>
                      <a:pt x="31" y="100"/>
                    </a:cubicBezTo>
                    <a:cubicBezTo>
                      <a:pt x="27" y="90"/>
                      <a:pt x="33" y="85"/>
                      <a:pt x="32" y="73"/>
                    </a:cubicBezTo>
                    <a:cubicBezTo>
                      <a:pt x="23" y="75"/>
                      <a:pt x="8" y="71"/>
                      <a:pt x="0" y="65"/>
                    </a:cubicBezTo>
                    <a:cubicBezTo>
                      <a:pt x="0" y="61"/>
                      <a:pt x="0" y="56"/>
                      <a:pt x="0" y="51"/>
                    </a:cubicBezTo>
                    <a:cubicBezTo>
                      <a:pt x="6" y="39"/>
                      <a:pt x="14" y="27"/>
                      <a:pt x="11" y="12"/>
                    </a:cubicBezTo>
                    <a:cubicBezTo>
                      <a:pt x="11" y="7"/>
                      <a:pt x="18" y="6"/>
                      <a:pt x="19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50" name="Freeform 160">
                <a:extLst>
                  <a:ext uri="{FF2B5EF4-FFF2-40B4-BE49-F238E27FC236}">
                    <a16:creationId xmlns:a16="http://schemas.microsoft.com/office/drawing/2014/main" id="{54CBDBE3-8F5E-4EE3-8FDB-34A06DC357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014673"/>
                <a:ext cx="1109668" cy="2805120"/>
              </a:xfrm>
              <a:custGeom>
                <a:avLst/>
                <a:gdLst>
                  <a:gd name="T0" fmla="*/ 0 w 296"/>
                  <a:gd name="T1" fmla="*/ 188 h 748"/>
                  <a:gd name="T2" fmla="*/ 0 w 296"/>
                  <a:gd name="T3" fmla="*/ 183 h 748"/>
                  <a:gd name="T4" fmla="*/ 12 w 296"/>
                  <a:gd name="T5" fmla="*/ 166 h 748"/>
                  <a:gd name="T6" fmla="*/ 103 w 296"/>
                  <a:gd name="T7" fmla="*/ 169 h 748"/>
                  <a:gd name="T8" fmla="*/ 143 w 296"/>
                  <a:gd name="T9" fmla="*/ 9 h 748"/>
                  <a:gd name="T10" fmla="*/ 191 w 296"/>
                  <a:gd name="T11" fmla="*/ 11 h 748"/>
                  <a:gd name="T12" fmla="*/ 225 w 296"/>
                  <a:gd name="T13" fmla="*/ 112 h 748"/>
                  <a:gd name="T14" fmla="*/ 245 w 296"/>
                  <a:gd name="T15" fmla="*/ 133 h 748"/>
                  <a:gd name="T16" fmla="*/ 268 w 296"/>
                  <a:gd name="T17" fmla="*/ 153 h 748"/>
                  <a:gd name="T18" fmla="*/ 296 w 296"/>
                  <a:gd name="T19" fmla="*/ 153 h 748"/>
                  <a:gd name="T20" fmla="*/ 275 w 296"/>
                  <a:gd name="T21" fmla="*/ 276 h 748"/>
                  <a:gd name="T22" fmla="*/ 268 w 296"/>
                  <a:gd name="T23" fmla="*/ 288 h 748"/>
                  <a:gd name="T24" fmla="*/ 264 w 296"/>
                  <a:gd name="T25" fmla="*/ 303 h 748"/>
                  <a:gd name="T26" fmla="*/ 253 w 296"/>
                  <a:gd name="T27" fmla="*/ 328 h 748"/>
                  <a:gd name="T28" fmla="*/ 256 w 296"/>
                  <a:gd name="T29" fmla="*/ 354 h 748"/>
                  <a:gd name="T30" fmla="*/ 252 w 296"/>
                  <a:gd name="T31" fmla="*/ 418 h 748"/>
                  <a:gd name="T32" fmla="*/ 249 w 296"/>
                  <a:gd name="T33" fmla="*/ 514 h 748"/>
                  <a:gd name="T34" fmla="*/ 237 w 296"/>
                  <a:gd name="T35" fmla="*/ 577 h 748"/>
                  <a:gd name="T36" fmla="*/ 223 w 296"/>
                  <a:gd name="T37" fmla="*/ 604 h 748"/>
                  <a:gd name="T38" fmla="*/ 215 w 296"/>
                  <a:gd name="T39" fmla="*/ 633 h 748"/>
                  <a:gd name="T40" fmla="*/ 207 w 296"/>
                  <a:gd name="T41" fmla="*/ 662 h 748"/>
                  <a:gd name="T42" fmla="*/ 222 w 296"/>
                  <a:gd name="T43" fmla="*/ 707 h 748"/>
                  <a:gd name="T44" fmla="*/ 182 w 296"/>
                  <a:gd name="T45" fmla="*/ 689 h 748"/>
                  <a:gd name="T46" fmla="*/ 122 w 296"/>
                  <a:gd name="T47" fmla="*/ 748 h 748"/>
                  <a:gd name="T48" fmla="*/ 114 w 296"/>
                  <a:gd name="T49" fmla="*/ 677 h 748"/>
                  <a:gd name="T50" fmla="*/ 97 w 296"/>
                  <a:gd name="T51" fmla="*/ 672 h 748"/>
                  <a:gd name="T52" fmla="*/ 97 w 296"/>
                  <a:gd name="T53" fmla="*/ 609 h 748"/>
                  <a:gd name="T54" fmla="*/ 86 w 296"/>
                  <a:gd name="T55" fmla="*/ 588 h 748"/>
                  <a:gd name="T56" fmla="*/ 64 w 296"/>
                  <a:gd name="T57" fmla="*/ 525 h 748"/>
                  <a:gd name="T58" fmla="*/ 35 w 296"/>
                  <a:gd name="T59" fmla="*/ 383 h 748"/>
                  <a:gd name="T60" fmla="*/ 19 w 296"/>
                  <a:gd name="T61" fmla="*/ 285 h 748"/>
                  <a:gd name="T62" fmla="*/ 0 w 296"/>
                  <a:gd name="T63" fmla="*/ 188 h 7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6" h="748">
                    <a:moveTo>
                      <a:pt x="0" y="188"/>
                    </a:moveTo>
                    <a:cubicBezTo>
                      <a:pt x="0" y="186"/>
                      <a:pt x="0" y="185"/>
                      <a:pt x="0" y="183"/>
                    </a:cubicBezTo>
                    <a:cubicBezTo>
                      <a:pt x="6" y="178"/>
                      <a:pt x="6" y="168"/>
                      <a:pt x="12" y="166"/>
                    </a:cubicBezTo>
                    <a:cubicBezTo>
                      <a:pt x="37" y="176"/>
                      <a:pt x="73" y="176"/>
                      <a:pt x="103" y="169"/>
                    </a:cubicBezTo>
                    <a:cubicBezTo>
                      <a:pt x="116" y="117"/>
                      <a:pt x="127" y="60"/>
                      <a:pt x="143" y="9"/>
                    </a:cubicBezTo>
                    <a:cubicBezTo>
                      <a:pt x="158" y="0"/>
                      <a:pt x="177" y="2"/>
                      <a:pt x="191" y="11"/>
                    </a:cubicBezTo>
                    <a:cubicBezTo>
                      <a:pt x="204" y="36"/>
                      <a:pt x="210" y="83"/>
                      <a:pt x="225" y="112"/>
                    </a:cubicBezTo>
                    <a:cubicBezTo>
                      <a:pt x="229" y="119"/>
                      <a:pt x="237" y="125"/>
                      <a:pt x="245" y="133"/>
                    </a:cubicBezTo>
                    <a:cubicBezTo>
                      <a:pt x="252" y="140"/>
                      <a:pt x="260" y="152"/>
                      <a:pt x="268" y="153"/>
                    </a:cubicBezTo>
                    <a:cubicBezTo>
                      <a:pt x="277" y="155"/>
                      <a:pt x="286" y="149"/>
                      <a:pt x="296" y="153"/>
                    </a:cubicBezTo>
                    <a:cubicBezTo>
                      <a:pt x="291" y="195"/>
                      <a:pt x="275" y="228"/>
                      <a:pt x="275" y="276"/>
                    </a:cubicBezTo>
                    <a:cubicBezTo>
                      <a:pt x="273" y="281"/>
                      <a:pt x="269" y="281"/>
                      <a:pt x="268" y="288"/>
                    </a:cubicBezTo>
                    <a:cubicBezTo>
                      <a:pt x="265" y="291"/>
                      <a:pt x="265" y="298"/>
                      <a:pt x="264" y="303"/>
                    </a:cubicBezTo>
                    <a:cubicBezTo>
                      <a:pt x="261" y="312"/>
                      <a:pt x="253" y="318"/>
                      <a:pt x="253" y="328"/>
                    </a:cubicBezTo>
                    <a:cubicBezTo>
                      <a:pt x="252" y="336"/>
                      <a:pt x="256" y="345"/>
                      <a:pt x="256" y="354"/>
                    </a:cubicBezTo>
                    <a:cubicBezTo>
                      <a:pt x="258" y="380"/>
                      <a:pt x="258" y="399"/>
                      <a:pt x="252" y="418"/>
                    </a:cubicBezTo>
                    <a:cubicBezTo>
                      <a:pt x="266" y="448"/>
                      <a:pt x="257" y="479"/>
                      <a:pt x="249" y="514"/>
                    </a:cubicBezTo>
                    <a:cubicBezTo>
                      <a:pt x="245" y="536"/>
                      <a:pt x="243" y="559"/>
                      <a:pt x="237" y="577"/>
                    </a:cubicBezTo>
                    <a:cubicBezTo>
                      <a:pt x="233" y="586"/>
                      <a:pt x="227" y="595"/>
                      <a:pt x="223" y="604"/>
                    </a:cubicBezTo>
                    <a:cubicBezTo>
                      <a:pt x="220" y="611"/>
                      <a:pt x="218" y="623"/>
                      <a:pt x="215" y="633"/>
                    </a:cubicBezTo>
                    <a:cubicBezTo>
                      <a:pt x="212" y="644"/>
                      <a:pt x="207" y="656"/>
                      <a:pt x="207" y="662"/>
                    </a:cubicBezTo>
                    <a:cubicBezTo>
                      <a:pt x="208" y="675"/>
                      <a:pt x="224" y="690"/>
                      <a:pt x="222" y="707"/>
                    </a:cubicBezTo>
                    <a:cubicBezTo>
                      <a:pt x="203" y="705"/>
                      <a:pt x="197" y="690"/>
                      <a:pt x="182" y="689"/>
                    </a:cubicBezTo>
                    <a:cubicBezTo>
                      <a:pt x="141" y="688"/>
                      <a:pt x="137" y="726"/>
                      <a:pt x="122" y="748"/>
                    </a:cubicBezTo>
                    <a:cubicBezTo>
                      <a:pt x="120" y="724"/>
                      <a:pt x="115" y="702"/>
                      <a:pt x="114" y="677"/>
                    </a:cubicBezTo>
                    <a:cubicBezTo>
                      <a:pt x="108" y="676"/>
                      <a:pt x="99" y="684"/>
                      <a:pt x="97" y="672"/>
                    </a:cubicBezTo>
                    <a:cubicBezTo>
                      <a:pt x="64" y="661"/>
                      <a:pt x="98" y="627"/>
                      <a:pt x="97" y="609"/>
                    </a:cubicBezTo>
                    <a:cubicBezTo>
                      <a:pt x="97" y="602"/>
                      <a:pt x="90" y="595"/>
                      <a:pt x="86" y="588"/>
                    </a:cubicBezTo>
                    <a:cubicBezTo>
                      <a:pt x="74" y="569"/>
                      <a:pt x="70" y="549"/>
                      <a:pt x="64" y="525"/>
                    </a:cubicBezTo>
                    <a:cubicBezTo>
                      <a:pt x="52" y="479"/>
                      <a:pt x="45" y="432"/>
                      <a:pt x="35" y="383"/>
                    </a:cubicBezTo>
                    <a:cubicBezTo>
                      <a:pt x="28" y="351"/>
                      <a:pt x="22" y="318"/>
                      <a:pt x="19" y="285"/>
                    </a:cubicBezTo>
                    <a:cubicBezTo>
                      <a:pt x="18" y="251"/>
                      <a:pt x="7" y="214"/>
                      <a:pt x="0" y="188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51" name="Freeform 179">
                <a:extLst>
                  <a:ext uri="{FF2B5EF4-FFF2-40B4-BE49-F238E27FC236}">
                    <a16:creationId xmlns:a16="http://schemas.microsoft.com/office/drawing/2014/main" id="{39F50C9D-B6A0-4CE3-BD10-CFDCEA9DE6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4413" y="3113098"/>
                <a:ext cx="452441" cy="569916"/>
              </a:xfrm>
              <a:custGeom>
                <a:avLst/>
                <a:gdLst>
                  <a:gd name="T0" fmla="*/ 0 w 285"/>
                  <a:gd name="T1" fmla="*/ 0 h 359"/>
                  <a:gd name="T2" fmla="*/ 14 w 285"/>
                  <a:gd name="T3" fmla="*/ 96 h 359"/>
                  <a:gd name="T4" fmla="*/ 108 w 285"/>
                  <a:gd name="T5" fmla="*/ 330 h 359"/>
                  <a:gd name="T6" fmla="*/ 285 w 285"/>
                  <a:gd name="T7" fmla="*/ 359 h 359"/>
                  <a:gd name="T8" fmla="*/ 285 w 285"/>
                  <a:gd name="T9" fmla="*/ 311 h 359"/>
                  <a:gd name="T10" fmla="*/ 0 w 285"/>
                  <a:gd name="T11" fmla="*/ 0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359">
                    <a:moveTo>
                      <a:pt x="0" y="0"/>
                    </a:moveTo>
                    <a:lnTo>
                      <a:pt x="14" y="96"/>
                    </a:lnTo>
                    <a:lnTo>
                      <a:pt x="108" y="330"/>
                    </a:lnTo>
                    <a:lnTo>
                      <a:pt x="285" y="359"/>
                    </a:lnTo>
                    <a:lnTo>
                      <a:pt x="285" y="3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52" name="Freeform 180">
                <a:extLst>
                  <a:ext uri="{FF2B5EF4-FFF2-40B4-BE49-F238E27FC236}">
                    <a16:creationId xmlns:a16="http://schemas.microsoft.com/office/drawing/2014/main" id="{213D0913-E18D-4635-9FB3-F741A7B6F2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86" y="3146435"/>
                <a:ext cx="592139" cy="619126"/>
              </a:xfrm>
              <a:custGeom>
                <a:avLst/>
                <a:gdLst>
                  <a:gd name="T0" fmla="*/ 158 w 158"/>
                  <a:gd name="T1" fmla="*/ 0 h 165"/>
                  <a:gd name="T2" fmla="*/ 158 w 158"/>
                  <a:gd name="T3" fmla="*/ 80 h 165"/>
                  <a:gd name="T4" fmla="*/ 113 w 158"/>
                  <a:gd name="T5" fmla="*/ 158 h 165"/>
                  <a:gd name="T6" fmla="*/ 23 w 158"/>
                  <a:gd name="T7" fmla="*/ 156 h 165"/>
                  <a:gd name="T8" fmla="*/ 0 w 158"/>
                  <a:gd name="T9" fmla="*/ 148 h 165"/>
                  <a:gd name="T10" fmla="*/ 87 w 158"/>
                  <a:gd name="T11" fmla="*/ 137 h 165"/>
                  <a:gd name="T12" fmla="*/ 158 w 158"/>
                  <a:gd name="T1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8" h="165">
                    <a:moveTo>
                      <a:pt x="158" y="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8" y="80"/>
                      <a:pt x="139" y="165"/>
                      <a:pt x="113" y="158"/>
                    </a:cubicBezTo>
                    <a:cubicBezTo>
                      <a:pt x="87" y="152"/>
                      <a:pt x="26" y="157"/>
                      <a:pt x="23" y="156"/>
                    </a:cubicBezTo>
                    <a:cubicBezTo>
                      <a:pt x="20" y="156"/>
                      <a:pt x="0" y="148"/>
                      <a:pt x="0" y="148"/>
                    </a:cubicBezTo>
                    <a:cubicBezTo>
                      <a:pt x="0" y="148"/>
                      <a:pt x="82" y="138"/>
                      <a:pt x="87" y="137"/>
                    </a:cubicBezTo>
                    <a:cubicBezTo>
                      <a:pt x="92" y="136"/>
                      <a:pt x="158" y="0"/>
                      <a:pt x="1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53" name="Freeform 181">
                <a:extLst>
                  <a:ext uri="{FF2B5EF4-FFF2-40B4-BE49-F238E27FC236}">
                    <a16:creationId xmlns:a16="http://schemas.microsoft.com/office/drawing/2014/main" id="{E34720CA-5241-4961-9185-77FE909496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13" y="3446473"/>
                <a:ext cx="63501" cy="423863"/>
              </a:xfrm>
              <a:custGeom>
                <a:avLst/>
                <a:gdLst>
                  <a:gd name="T0" fmla="*/ 0 w 40"/>
                  <a:gd name="T1" fmla="*/ 0 h 267"/>
                  <a:gd name="T2" fmla="*/ 0 w 40"/>
                  <a:gd name="T3" fmla="*/ 267 h 267"/>
                  <a:gd name="T4" fmla="*/ 40 w 40"/>
                  <a:gd name="T5" fmla="*/ 260 h 267"/>
                  <a:gd name="T6" fmla="*/ 0 w 40"/>
                  <a:gd name="T7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67">
                    <a:moveTo>
                      <a:pt x="0" y="0"/>
                    </a:moveTo>
                    <a:lnTo>
                      <a:pt x="0" y="267"/>
                    </a:lnTo>
                    <a:lnTo>
                      <a:pt x="40" y="26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54" name="Freeform 182">
                <a:extLst>
                  <a:ext uri="{FF2B5EF4-FFF2-40B4-BE49-F238E27FC236}">
                    <a16:creationId xmlns:a16="http://schemas.microsoft.com/office/drawing/2014/main" id="{8C2BA566-776F-4734-8FA8-425BF60730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036" y="3884623"/>
                <a:ext cx="217490" cy="1497016"/>
              </a:xfrm>
              <a:custGeom>
                <a:avLst/>
                <a:gdLst>
                  <a:gd name="T0" fmla="*/ 58 w 58"/>
                  <a:gd name="T1" fmla="*/ 0 h 399"/>
                  <a:gd name="T2" fmla="*/ 6 w 58"/>
                  <a:gd name="T3" fmla="*/ 369 h 399"/>
                  <a:gd name="T4" fmla="*/ 0 w 58"/>
                  <a:gd name="T5" fmla="*/ 399 h 399"/>
                  <a:gd name="T6" fmla="*/ 34 w 58"/>
                  <a:gd name="T7" fmla="*/ 312 h 399"/>
                  <a:gd name="T8" fmla="*/ 29 w 58"/>
                  <a:gd name="T9" fmla="*/ 255 h 399"/>
                  <a:gd name="T10" fmla="*/ 48 w 58"/>
                  <a:gd name="T11" fmla="*/ 139 h 399"/>
                  <a:gd name="T12" fmla="*/ 58 w 58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99">
                    <a:moveTo>
                      <a:pt x="58" y="0"/>
                    </a:moveTo>
                    <a:cubicBezTo>
                      <a:pt x="6" y="369"/>
                      <a:pt x="6" y="369"/>
                      <a:pt x="6" y="369"/>
                    </a:cubicBezTo>
                    <a:cubicBezTo>
                      <a:pt x="0" y="399"/>
                      <a:pt x="0" y="399"/>
                      <a:pt x="0" y="399"/>
                    </a:cubicBezTo>
                    <a:cubicBezTo>
                      <a:pt x="0" y="399"/>
                      <a:pt x="36" y="342"/>
                      <a:pt x="34" y="312"/>
                    </a:cubicBezTo>
                    <a:cubicBezTo>
                      <a:pt x="32" y="282"/>
                      <a:pt x="28" y="282"/>
                      <a:pt x="29" y="255"/>
                    </a:cubicBezTo>
                    <a:cubicBezTo>
                      <a:pt x="31" y="227"/>
                      <a:pt x="46" y="145"/>
                      <a:pt x="48" y="139"/>
                    </a:cubicBezTo>
                    <a:cubicBezTo>
                      <a:pt x="50" y="132"/>
                      <a:pt x="58" y="0"/>
                      <a:pt x="58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55" name="Freeform 183">
                <a:extLst>
                  <a:ext uri="{FF2B5EF4-FFF2-40B4-BE49-F238E27FC236}">
                    <a16:creationId xmlns:a16="http://schemas.microsoft.com/office/drawing/2014/main" id="{C8DA41AC-1779-41B0-A4D6-11427B4A20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3802" y="4038612"/>
                <a:ext cx="231777" cy="385763"/>
              </a:xfrm>
              <a:custGeom>
                <a:avLst/>
                <a:gdLst>
                  <a:gd name="T0" fmla="*/ 62 w 62"/>
                  <a:gd name="T1" fmla="*/ 0 h 103"/>
                  <a:gd name="T2" fmla="*/ 35 w 62"/>
                  <a:gd name="T3" fmla="*/ 31 h 103"/>
                  <a:gd name="T4" fmla="*/ 27 w 62"/>
                  <a:gd name="T5" fmla="*/ 66 h 103"/>
                  <a:gd name="T6" fmla="*/ 6 w 62"/>
                  <a:gd name="T7" fmla="*/ 79 h 103"/>
                  <a:gd name="T8" fmla="*/ 23 w 62"/>
                  <a:gd name="T9" fmla="*/ 30 h 103"/>
                  <a:gd name="T10" fmla="*/ 62 w 62"/>
                  <a:gd name="T11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" h="103">
                    <a:moveTo>
                      <a:pt x="62" y="0"/>
                    </a:moveTo>
                    <a:cubicBezTo>
                      <a:pt x="62" y="0"/>
                      <a:pt x="37" y="20"/>
                      <a:pt x="35" y="31"/>
                    </a:cubicBezTo>
                    <a:cubicBezTo>
                      <a:pt x="33" y="42"/>
                      <a:pt x="25" y="75"/>
                      <a:pt x="27" y="66"/>
                    </a:cubicBezTo>
                    <a:cubicBezTo>
                      <a:pt x="28" y="58"/>
                      <a:pt x="0" y="103"/>
                      <a:pt x="6" y="79"/>
                    </a:cubicBezTo>
                    <a:cubicBezTo>
                      <a:pt x="12" y="55"/>
                      <a:pt x="14" y="48"/>
                      <a:pt x="23" y="30"/>
                    </a:cubicBezTo>
                    <a:cubicBezTo>
                      <a:pt x="33" y="12"/>
                      <a:pt x="62" y="0"/>
                      <a:pt x="62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56" name="Freeform 184">
                <a:extLst>
                  <a:ext uri="{FF2B5EF4-FFF2-40B4-BE49-F238E27FC236}">
                    <a16:creationId xmlns:a16="http://schemas.microsoft.com/office/drawing/2014/main" id="{B8400299-EFDE-45BA-A5BE-4E355BA5E8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62" y="4581537"/>
                <a:ext cx="153989" cy="434977"/>
              </a:xfrm>
              <a:custGeom>
                <a:avLst/>
                <a:gdLst>
                  <a:gd name="T0" fmla="*/ 41 w 41"/>
                  <a:gd name="T1" fmla="*/ 0 h 116"/>
                  <a:gd name="T2" fmla="*/ 25 w 41"/>
                  <a:gd name="T3" fmla="*/ 47 h 116"/>
                  <a:gd name="T4" fmla="*/ 7 w 41"/>
                  <a:gd name="T5" fmla="*/ 85 h 116"/>
                  <a:gd name="T6" fmla="*/ 36 w 41"/>
                  <a:gd name="T7" fmla="*/ 0 h 116"/>
                  <a:gd name="T8" fmla="*/ 41 w 41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16">
                    <a:moveTo>
                      <a:pt x="41" y="0"/>
                    </a:moveTo>
                    <a:cubicBezTo>
                      <a:pt x="38" y="8"/>
                      <a:pt x="33" y="18"/>
                      <a:pt x="25" y="47"/>
                    </a:cubicBezTo>
                    <a:cubicBezTo>
                      <a:pt x="17" y="75"/>
                      <a:pt x="0" y="116"/>
                      <a:pt x="7" y="85"/>
                    </a:cubicBezTo>
                    <a:cubicBezTo>
                      <a:pt x="15" y="53"/>
                      <a:pt x="31" y="0"/>
                      <a:pt x="36" y="0"/>
                    </a:cubicBezTo>
                    <a:cubicBezTo>
                      <a:pt x="41" y="0"/>
                      <a:pt x="41" y="0"/>
                      <a:pt x="41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57" name="Freeform 185">
                <a:extLst>
                  <a:ext uri="{FF2B5EF4-FFF2-40B4-BE49-F238E27FC236}">
                    <a16:creationId xmlns:a16="http://schemas.microsoft.com/office/drawing/2014/main" id="{90200101-BB55-4300-BC40-81419B2394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88" y="5470541"/>
                <a:ext cx="274638" cy="165099"/>
              </a:xfrm>
              <a:custGeom>
                <a:avLst/>
                <a:gdLst>
                  <a:gd name="T0" fmla="*/ 0 w 73"/>
                  <a:gd name="T1" fmla="*/ 41 h 44"/>
                  <a:gd name="T2" fmla="*/ 37 w 73"/>
                  <a:gd name="T3" fmla="*/ 29 h 44"/>
                  <a:gd name="T4" fmla="*/ 68 w 73"/>
                  <a:gd name="T5" fmla="*/ 29 h 44"/>
                  <a:gd name="T6" fmla="*/ 50 w 73"/>
                  <a:gd name="T7" fmla="*/ 0 h 44"/>
                  <a:gd name="T8" fmla="*/ 0 w 73"/>
                  <a:gd name="T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44">
                    <a:moveTo>
                      <a:pt x="0" y="41"/>
                    </a:moveTo>
                    <a:cubicBezTo>
                      <a:pt x="0" y="41"/>
                      <a:pt x="8" y="27"/>
                      <a:pt x="37" y="29"/>
                    </a:cubicBezTo>
                    <a:cubicBezTo>
                      <a:pt x="65" y="31"/>
                      <a:pt x="66" y="44"/>
                      <a:pt x="68" y="29"/>
                    </a:cubicBezTo>
                    <a:cubicBezTo>
                      <a:pt x="70" y="14"/>
                      <a:pt x="73" y="0"/>
                      <a:pt x="50" y="0"/>
                    </a:cubicBezTo>
                    <a:cubicBezTo>
                      <a:pt x="27" y="0"/>
                      <a:pt x="0" y="41"/>
                      <a:pt x="0" y="4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58" name="Freeform 186">
                <a:extLst>
                  <a:ext uri="{FF2B5EF4-FFF2-40B4-BE49-F238E27FC236}">
                    <a16:creationId xmlns:a16="http://schemas.microsoft.com/office/drawing/2014/main" id="{D40EDCA6-39A5-4E67-8098-AE144D15BE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5111766"/>
                <a:ext cx="139699" cy="265114"/>
              </a:xfrm>
              <a:custGeom>
                <a:avLst/>
                <a:gdLst>
                  <a:gd name="T0" fmla="*/ 16 w 37"/>
                  <a:gd name="T1" fmla="*/ 2 h 71"/>
                  <a:gd name="T2" fmla="*/ 31 w 37"/>
                  <a:gd name="T3" fmla="*/ 31 h 71"/>
                  <a:gd name="T4" fmla="*/ 24 w 37"/>
                  <a:gd name="T5" fmla="*/ 42 h 71"/>
                  <a:gd name="T6" fmla="*/ 3 w 37"/>
                  <a:gd name="T7" fmla="*/ 7 h 71"/>
                  <a:gd name="T8" fmla="*/ 16 w 37"/>
                  <a:gd name="T9" fmla="*/ 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1">
                    <a:moveTo>
                      <a:pt x="16" y="2"/>
                    </a:moveTo>
                    <a:cubicBezTo>
                      <a:pt x="24" y="6"/>
                      <a:pt x="32" y="19"/>
                      <a:pt x="31" y="31"/>
                    </a:cubicBezTo>
                    <a:cubicBezTo>
                      <a:pt x="30" y="43"/>
                      <a:pt x="37" y="71"/>
                      <a:pt x="24" y="42"/>
                    </a:cubicBezTo>
                    <a:cubicBezTo>
                      <a:pt x="11" y="14"/>
                      <a:pt x="0" y="14"/>
                      <a:pt x="3" y="7"/>
                    </a:cubicBezTo>
                    <a:cubicBezTo>
                      <a:pt x="6" y="0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59" name="Freeform 187">
                <a:extLst>
                  <a:ext uri="{FF2B5EF4-FFF2-40B4-BE49-F238E27FC236}">
                    <a16:creationId xmlns:a16="http://schemas.microsoft.com/office/drawing/2014/main" id="{8D222BA8-73AD-4FD9-A666-1B18893CF4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4" y="4159261"/>
                <a:ext cx="322265" cy="741365"/>
              </a:xfrm>
              <a:custGeom>
                <a:avLst/>
                <a:gdLst>
                  <a:gd name="T0" fmla="*/ 0 w 86"/>
                  <a:gd name="T1" fmla="*/ 0 h 198"/>
                  <a:gd name="T2" fmla="*/ 38 w 86"/>
                  <a:gd name="T3" fmla="*/ 16 h 198"/>
                  <a:gd name="T4" fmla="*/ 51 w 86"/>
                  <a:gd name="T5" fmla="*/ 54 h 198"/>
                  <a:gd name="T6" fmla="*/ 36 w 86"/>
                  <a:gd name="T7" fmla="*/ 54 h 198"/>
                  <a:gd name="T8" fmla="*/ 70 w 86"/>
                  <a:gd name="T9" fmla="*/ 161 h 198"/>
                  <a:gd name="T10" fmla="*/ 37 w 86"/>
                  <a:gd name="T11" fmla="*/ 132 h 198"/>
                  <a:gd name="T12" fmla="*/ 36 w 86"/>
                  <a:gd name="T13" fmla="*/ 198 h 198"/>
                  <a:gd name="T14" fmla="*/ 16 w 86"/>
                  <a:gd name="T15" fmla="*/ 96 h 198"/>
                  <a:gd name="T16" fmla="*/ 0 w 86"/>
                  <a:gd name="T17" fmla="*/ 28 h 198"/>
                  <a:gd name="T18" fmla="*/ 0 w 86"/>
                  <a:gd name="T19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198">
                    <a:moveTo>
                      <a:pt x="0" y="0"/>
                    </a:moveTo>
                    <a:cubicBezTo>
                      <a:pt x="0" y="0"/>
                      <a:pt x="32" y="2"/>
                      <a:pt x="38" y="16"/>
                    </a:cubicBezTo>
                    <a:cubicBezTo>
                      <a:pt x="44" y="31"/>
                      <a:pt x="66" y="67"/>
                      <a:pt x="51" y="54"/>
                    </a:cubicBezTo>
                    <a:cubicBezTo>
                      <a:pt x="36" y="41"/>
                      <a:pt x="17" y="24"/>
                      <a:pt x="36" y="54"/>
                    </a:cubicBezTo>
                    <a:cubicBezTo>
                      <a:pt x="54" y="84"/>
                      <a:pt x="86" y="181"/>
                      <a:pt x="70" y="161"/>
                    </a:cubicBezTo>
                    <a:cubicBezTo>
                      <a:pt x="55" y="141"/>
                      <a:pt x="39" y="108"/>
                      <a:pt x="37" y="132"/>
                    </a:cubicBezTo>
                    <a:cubicBezTo>
                      <a:pt x="36" y="156"/>
                      <a:pt x="36" y="198"/>
                      <a:pt x="36" y="198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60" name="Freeform 157">
                <a:extLst>
                  <a:ext uri="{FF2B5EF4-FFF2-40B4-BE49-F238E27FC236}">
                    <a16:creationId xmlns:a16="http://schemas.microsoft.com/office/drawing/2014/main" id="{FDE2E98C-739D-41DC-9F9C-7607358828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60" y="960441"/>
                <a:ext cx="584203" cy="1049339"/>
              </a:xfrm>
              <a:custGeom>
                <a:avLst/>
                <a:gdLst>
                  <a:gd name="T0" fmla="*/ 0 w 156"/>
                  <a:gd name="T1" fmla="*/ 112 h 280"/>
                  <a:gd name="T2" fmla="*/ 0 w 156"/>
                  <a:gd name="T3" fmla="*/ 104 h 280"/>
                  <a:gd name="T4" fmla="*/ 11 w 156"/>
                  <a:gd name="T5" fmla="*/ 96 h 280"/>
                  <a:gd name="T6" fmla="*/ 4 w 156"/>
                  <a:gd name="T7" fmla="*/ 46 h 280"/>
                  <a:gd name="T8" fmla="*/ 28 w 156"/>
                  <a:gd name="T9" fmla="*/ 22 h 280"/>
                  <a:gd name="T10" fmla="*/ 59 w 156"/>
                  <a:gd name="T11" fmla="*/ 4 h 280"/>
                  <a:gd name="T12" fmla="*/ 108 w 156"/>
                  <a:gd name="T13" fmla="*/ 6 h 280"/>
                  <a:gd name="T14" fmla="*/ 138 w 156"/>
                  <a:gd name="T15" fmla="*/ 93 h 280"/>
                  <a:gd name="T16" fmla="*/ 143 w 156"/>
                  <a:gd name="T17" fmla="*/ 99 h 280"/>
                  <a:gd name="T18" fmla="*/ 131 w 156"/>
                  <a:gd name="T19" fmla="*/ 140 h 280"/>
                  <a:gd name="T20" fmla="*/ 122 w 156"/>
                  <a:gd name="T21" fmla="*/ 147 h 280"/>
                  <a:gd name="T22" fmla="*/ 114 w 156"/>
                  <a:gd name="T23" fmla="*/ 215 h 280"/>
                  <a:gd name="T24" fmla="*/ 80 w 156"/>
                  <a:gd name="T25" fmla="*/ 280 h 280"/>
                  <a:gd name="T26" fmla="*/ 56 w 156"/>
                  <a:gd name="T27" fmla="*/ 267 h 280"/>
                  <a:gd name="T28" fmla="*/ 44 w 156"/>
                  <a:gd name="T29" fmla="*/ 241 h 280"/>
                  <a:gd name="T30" fmla="*/ 24 w 156"/>
                  <a:gd name="T31" fmla="*/ 188 h 280"/>
                  <a:gd name="T32" fmla="*/ 24 w 156"/>
                  <a:gd name="T33" fmla="*/ 150 h 280"/>
                  <a:gd name="T34" fmla="*/ 12 w 156"/>
                  <a:gd name="T35" fmla="*/ 137 h 280"/>
                  <a:gd name="T36" fmla="*/ 0 w 156"/>
                  <a:gd name="T37" fmla="*/ 11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6" h="280">
                    <a:moveTo>
                      <a:pt x="0" y="112"/>
                    </a:moveTo>
                    <a:cubicBezTo>
                      <a:pt x="0" y="109"/>
                      <a:pt x="0" y="107"/>
                      <a:pt x="0" y="104"/>
                    </a:cubicBezTo>
                    <a:cubicBezTo>
                      <a:pt x="3" y="101"/>
                      <a:pt x="3" y="94"/>
                      <a:pt x="11" y="96"/>
                    </a:cubicBezTo>
                    <a:cubicBezTo>
                      <a:pt x="6" y="80"/>
                      <a:pt x="6" y="64"/>
                      <a:pt x="4" y="46"/>
                    </a:cubicBezTo>
                    <a:cubicBezTo>
                      <a:pt x="8" y="36"/>
                      <a:pt x="19" y="30"/>
                      <a:pt x="28" y="22"/>
                    </a:cubicBezTo>
                    <a:cubicBezTo>
                      <a:pt x="38" y="16"/>
                      <a:pt x="47" y="7"/>
                      <a:pt x="59" y="4"/>
                    </a:cubicBezTo>
                    <a:cubicBezTo>
                      <a:pt x="72" y="0"/>
                      <a:pt x="89" y="6"/>
                      <a:pt x="108" y="6"/>
                    </a:cubicBezTo>
                    <a:cubicBezTo>
                      <a:pt x="134" y="19"/>
                      <a:pt x="156" y="55"/>
                      <a:pt x="138" y="93"/>
                    </a:cubicBezTo>
                    <a:cubicBezTo>
                      <a:pt x="137" y="97"/>
                      <a:pt x="145" y="96"/>
                      <a:pt x="143" y="99"/>
                    </a:cubicBezTo>
                    <a:cubicBezTo>
                      <a:pt x="149" y="115"/>
                      <a:pt x="135" y="128"/>
                      <a:pt x="131" y="140"/>
                    </a:cubicBezTo>
                    <a:cubicBezTo>
                      <a:pt x="130" y="142"/>
                      <a:pt x="126" y="146"/>
                      <a:pt x="122" y="147"/>
                    </a:cubicBezTo>
                    <a:cubicBezTo>
                      <a:pt x="122" y="170"/>
                      <a:pt x="121" y="196"/>
                      <a:pt x="114" y="215"/>
                    </a:cubicBezTo>
                    <a:cubicBezTo>
                      <a:pt x="108" y="240"/>
                      <a:pt x="102" y="273"/>
                      <a:pt x="80" y="280"/>
                    </a:cubicBezTo>
                    <a:cubicBezTo>
                      <a:pt x="72" y="274"/>
                      <a:pt x="61" y="274"/>
                      <a:pt x="56" y="267"/>
                    </a:cubicBezTo>
                    <a:cubicBezTo>
                      <a:pt x="51" y="260"/>
                      <a:pt x="48" y="249"/>
                      <a:pt x="44" y="241"/>
                    </a:cubicBezTo>
                    <a:cubicBezTo>
                      <a:pt x="38" y="226"/>
                      <a:pt x="27" y="204"/>
                      <a:pt x="24" y="188"/>
                    </a:cubicBezTo>
                    <a:cubicBezTo>
                      <a:pt x="22" y="175"/>
                      <a:pt x="27" y="161"/>
                      <a:pt x="24" y="150"/>
                    </a:cubicBezTo>
                    <a:cubicBezTo>
                      <a:pt x="22" y="140"/>
                      <a:pt x="18" y="144"/>
                      <a:pt x="12" y="137"/>
                    </a:cubicBezTo>
                    <a:cubicBezTo>
                      <a:pt x="7" y="130"/>
                      <a:pt x="4" y="118"/>
                      <a:pt x="0" y="11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61" name="Freeform 158">
                <a:extLst>
                  <a:ext uri="{FF2B5EF4-FFF2-40B4-BE49-F238E27FC236}">
                    <a16:creationId xmlns:a16="http://schemas.microsoft.com/office/drawing/2014/main" id="{C74F44FF-7C12-43E3-9D3E-08FB3CC03F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9535" y="3479810"/>
                <a:ext cx="255587" cy="434977"/>
              </a:xfrm>
              <a:custGeom>
                <a:avLst/>
                <a:gdLst>
                  <a:gd name="T0" fmla="*/ 63 w 68"/>
                  <a:gd name="T1" fmla="*/ 116 h 116"/>
                  <a:gd name="T2" fmla="*/ 60 w 68"/>
                  <a:gd name="T3" fmla="*/ 116 h 116"/>
                  <a:gd name="T4" fmla="*/ 16 w 68"/>
                  <a:gd name="T5" fmla="*/ 98 h 116"/>
                  <a:gd name="T6" fmla="*/ 0 w 68"/>
                  <a:gd name="T7" fmla="*/ 23 h 116"/>
                  <a:gd name="T8" fmla="*/ 55 w 68"/>
                  <a:gd name="T9" fmla="*/ 16 h 116"/>
                  <a:gd name="T10" fmla="*/ 68 w 68"/>
                  <a:gd name="T11" fmla="*/ 91 h 116"/>
                  <a:gd name="T12" fmla="*/ 62 w 68"/>
                  <a:gd name="T13" fmla="*/ 103 h 116"/>
                  <a:gd name="T14" fmla="*/ 63 w 68"/>
                  <a:gd name="T15" fmla="*/ 116 h 116"/>
                  <a:gd name="T16" fmla="*/ 38 w 68"/>
                  <a:gd name="T17" fmla="*/ 65 h 116"/>
                  <a:gd name="T18" fmla="*/ 54 w 68"/>
                  <a:gd name="T19" fmla="*/ 91 h 116"/>
                  <a:gd name="T20" fmla="*/ 44 w 68"/>
                  <a:gd name="T21" fmla="*/ 60 h 116"/>
                  <a:gd name="T22" fmla="*/ 38 w 68"/>
                  <a:gd name="T23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116">
                    <a:moveTo>
                      <a:pt x="63" y="116"/>
                    </a:moveTo>
                    <a:cubicBezTo>
                      <a:pt x="62" y="116"/>
                      <a:pt x="60" y="116"/>
                      <a:pt x="60" y="116"/>
                    </a:cubicBezTo>
                    <a:cubicBezTo>
                      <a:pt x="46" y="108"/>
                      <a:pt x="26" y="108"/>
                      <a:pt x="16" y="98"/>
                    </a:cubicBezTo>
                    <a:cubicBezTo>
                      <a:pt x="0" y="81"/>
                      <a:pt x="0" y="56"/>
                      <a:pt x="0" y="23"/>
                    </a:cubicBezTo>
                    <a:cubicBezTo>
                      <a:pt x="12" y="8"/>
                      <a:pt x="40" y="0"/>
                      <a:pt x="55" y="16"/>
                    </a:cubicBezTo>
                    <a:cubicBezTo>
                      <a:pt x="60" y="40"/>
                      <a:pt x="62" y="69"/>
                      <a:pt x="68" y="91"/>
                    </a:cubicBezTo>
                    <a:cubicBezTo>
                      <a:pt x="68" y="98"/>
                      <a:pt x="59" y="95"/>
                      <a:pt x="62" y="103"/>
                    </a:cubicBezTo>
                    <a:cubicBezTo>
                      <a:pt x="66" y="106"/>
                      <a:pt x="67" y="110"/>
                      <a:pt x="63" y="116"/>
                    </a:cubicBezTo>
                    <a:close/>
                    <a:moveTo>
                      <a:pt x="38" y="65"/>
                    </a:moveTo>
                    <a:cubicBezTo>
                      <a:pt x="40" y="75"/>
                      <a:pt x="38" y="93"/>
                      <a:pt x="54" y="91"/>
                    </a:cubicBezTo>
                    <a:cubicBezTo>
                      <a:pt x="47" y="85"/>
                      <a:pt x="50" y="69"/>
                      <a:pt x="44" y="60"/>
                    </a:cubicBezTo>
                    <a:cubicBezTo>
                      <a:pt x="43" y="64"/>
                      <a:pt x="38" y="61"/>
                      <a:pt x="38" y="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62" name="Freeform 161">
                <a:extLst>
                  <a:ext uri="{FF2B5EF4-FFF2-40B4-BE49-F238E27FC236}">
                    <a16:creationId xmlns:a16="http://schemas.microsoft.com/office/drawing/2014/main" id="{2840D9D8-27DC-40E2-AA30-0E8B6F2220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51" y="1695456"/>
                <a:ext cx="525465" cy="1109667"/>
              </a:xfrm>
              <a:custGeom>
                <a:avLst/>
                <a:gdLst>
                  <a:gd name="T0" fmla="*/ 139 w 140"/>
                  <a:gd name="T1" fmla="*/ 64 h 296"/>
                  <a:gd name="T2" fmla="*/ 139 w 140"/>
                  <a:gd name="T3" fmla="*/ 71 h 296"/>
                  <a:gd name="T4" fmla="*/ 138 w 140"/>
                  <a:gd name="T5" fmla="*/ 71 h 296"/>
                  <a:gd name="T6" fmla="*/ 93 w 140"/>
                  <a:gd name="T7" fmla="*/ 296 h 296"/>
                  <a:gd name="T8" fmla="*/ 84 w 140"/>
                  <a:gd name="T9" fmla="*/ 296 h 296"/>
                  <a:gd name="T10" fmla="*/ 75 w 140"/>
                  <a:gd name="T11" fmla="*/ 294 h 296"/>
                  <a:gd name="T12" fmla="*/ 63 w 140"/>
                  <a:gd name="T13" fmla="*/ 261 h 296"/>
                  <a:gd name="T14" fmla="*/ 33 w 140"/>
                  <a:gd name="T15" fmla="*/ 170 h 296"/>
                  <a:gd name="T16" fmla="*/ 0 w 140"/>
                  <a:gd name="T17" fmla="*/ 34 h 296"/>
                  <a:gd name="T18" fmla="*/ 0 w 140"/>
                  <a:gd name="T19" fmla="*/ 27 h 296"/>
                  <a:gd name="T20" fmla="*/ 16 w 140"/>
                  <a:gd name="T21" fmla="*/ 0 h 296"/>
                  <a:gd name="T22" fmla="*/ 67 w 140"/>
                  <a:gd name="T23" fmla="*/ 34 h 296"/>
                  <a:gd name="T24" fmla="*/ 70 w 140"/>
                  <a:gd name="T25" fmla="*/ 68 h 296"/>
                  <a:gd name="T26" fmla="*/ 81 w 140"/>
                  <a:gd name="T27" fmla="*/ 61 h 296"/>
                  <a:gd name="T28" fmla="*/ 76 w 140"/>
                  <a:gd name="T29" fmla="*/ 43 h 296"/>
                  <a:gd name="T30" fmla="*/ 110 w 140"/>
                  <a:gd name="T31" fmla="*/ 11 h 296"/>
                  <a:gd name="T32" fmla="*/ 121 w 140"/>
                  <a:gd name="T33" fmla="*/ 3 h 296"/>
                  <a:gd name="T34" fmla="*/ 139 w 140"/>
                  <a:gd name="T35" fmla="*/ 6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" h="296">
                    <a:moveTo>
                      <a:pt x="139" y="64"/>
                    </a:moveTo>
                    <a:cubicBezTo>
                      <a:pt x="139" y="67"/>
                      <a:pt x="139" y="68"/>
                      <a:pt x="139" y="71"/>
                    </a:cubicBezTo>
                    <a:cubicBezTo>
                      <a:pt x="138" y="71"/>
                      <a:pt x="138" y="71"/>
                      <a:pt x="138" y="71"/>
                    </a:cubicBezTo>
                    <a:cubicBezTo>
                      <a:pt x="125" y="148"/>
                      <a:pt x="108" y="221"/>
                      <a:pt x="93" y="296"/>
                    </a:cubicBezTo>
                    <a:cubicBezTo>
                      <a:pt x="90" y="296"/>
                      <a:pt x="87" y="296"/>
                      <a:pt x="84" y="296"/>
                    </a:cubicBezTo>
                    <a:cubicBezTo>
                      <a:pt x="85" y="294"/>
                      <a:pt x="78" y="296"/>
                      <a:pt x="75" y="294"/>
                    </a:cubicBezTo>
                    <a:cubicBezTo>
                      <a:pt x="72" y="291"/>
                      <a:pt x="67" y="273"/>
                      <a:pt x="63" y="261"/>
                    </a:cubicBezTo>
                    <a:cubicBezTo>
                      <a:pt x="53" y="231"/>
                      <a:pt x="42" y="201"/>
                      <a:pt x="33" y="170"/>
                    </a:cubicBezTo>
                    <a:cubicBezTo>
                      <a:pt x="18" y="118"/>
                      <a:pt x="8" y="74"/>
                      <a:pt x="0" y="34"/>
                    </a:cubicBezTo>
                    <a:cubicBezTo>
                      <a:pt x="0" y="32"/>
                      <a:pt x="0" y="29"/>
                      <a:pt x="0" y="27"/>
                    </a:cubicBezTo>
                    <a:cubicBezTo>
                      <a:pt x="3" y="16"/>
                      <a:pt x="3" y="0"/>
                      <a:pt x="16" y="0"/>
                    </a:cubicBezTo>
                    <a:cubicBezTo>
                      <a:pt x="31" y="13"/>
                      <a:pt x="49" y="23"/>
                      <a:pt x="67" y="34"/>
                    </a:cubicBezTo>
                    <a:cubicBezTo>
                      <a:pt x="74" y="43"/>
                      <a:pt x="71" y="56"/>
                      <a:pt x="70" y="68"/>
                    </a:cubicBezTo>
                    <a:cubicBezTo>
                      <a:pt x="75" y="68"/>
                      <a:pt x="80" y="64"/>
                      <a:pt x="81" y="61"/>
                    </a:cubicBezTo>
                    <a:cubicBezTo>
                      <a:pt x="80" y="62"/>
                      <a:pt x="72" y="49"/>
                      <a:pt x="76" y="43"/>
                    </a:cubicBezTo>
                    <a:cubicBezTo>
                      <a:pt x="87" y="33"/>
                      <a:pt x="98" y="22"/>
                      <a:pt x="110" y="11"/>
                    </a:cubicBezTo>
                    <a:cubicBezTo>
                      <a:pt x="114" y="8"/>
                      <a:pt x="116" y="0"/>
                      <a:pt x="121" y="3"/>
                    </a:cubicBezTo>
                    <a:cubicBezTo>
                      <a:pt x="140" y="11"/>
                      <a:pt x="134" y="43"/>
                      <a:pt x="139" y="64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63" name="Freeform 162">
                <a:extLst>
                  <a:ext uri="{FF2B5EF4-FFF2-40B4-BE49-F238E27FC236}">
                    <a16:creationId xmlns:a16="http://schemas.microsoft.com/office/drawing/2014/main" id="{606B52C2-99A1-4759-BE9A-726763D3BF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9371" y="1709743"/>
                <a:ext cx="1695457" cy="2039945"/>
              </a:xfrm>
              <a:custGeom>
                <a:avLst/>
                <a:gdLst>
                  <a:gd name="T0" fmla="*/ 289 w 452"/>
                  <a:gd name="T1" fmla="*/ 0 h 544"/>
                  <a:gd name="T2" fmla="*/ 293 w 452"/>
                  <a:gd name="T3" fmla="*/ 0 h 544"/>
                  <a:gd name="T4" fmla="*/ 403 w 452"/>
                  <a:gd name="T5" fmla="*/ 35 h 544"/>
                  <a:gd name="T6" fmla="*/ 413 w 452"/>
                  <a:gd name="T7" fmla="*/ 78 h 544"/>
                  <a:gd name="T8" fmla="*/ 414 w 452"/>
                  <a:gd name="T9" fmla="*/ 130 h 544"/>
                  <a:gd name="T10" fmla="*/ 421 w 452"/>
                  <a:gd name="T11" fmla="*/ 163 h 544"/>
                  <a:gd name="T12" fmla="*/ 424 w 452"/>
                  <a:gd name="T13" fmla="*/ 225 h 544"/>
                  <a:gd name="T14" fmla="*/ 446 w 452"/>
                  <a:gd name="T15" fmla="*/ 341 h 544"/>
                  <a:gd name="T16" fmla="*/ 452 w 452"/>
                  <a:gd name="T17" fmla="*/ 475 h 544"/>
                  <a:gd name="T18" fmla="*/ 439 w 452"/>
                  <a:gd name="T19" fmla="*/ 471 h 544"/>
                  <a:gd name="T20" fmla="*/ 395 w 452"/>
                  <a:gd name="T21" fmla="*/ 476 h 544"/>
                  <a:gd name="T22" fmla="*/ 395 w 452"/>
                  <a:gd name="T23" fmla="*/ 513 h 544"/>
                  <a:gd name="T24" fmla="*/ 340 w 452"/>
                  <a:gd name="T25" fmla="*/ 517 h 544"/>
                  <a:gd name="T26" fmla="*/ 289 w 452"/>
                  <a:gd name="T27" fmla="*/ 470 h 544"/>
                  <a:gd name="T28" fmla="*/ 248 w 452"/>
                  <a:gd name="T29" fmla="*/ 372 h 544"/>
                  <a:gd name="T30" fmla="*/ 206 w 452"/>
                  <a:gd name="T31" fmla="*/ 527 h 544"/>
                  <a:gd name="T32" fmla="*/ 70 w 452"/>
                  <a:gd name="T33" fmla="*/ 523 h 544"/>
                  <a:gd name="T34" fmla="*/ 70 w 452"/>
                  <a:gd name="T35" fmla="*/ 499 h 544"/>
                  <a:gd name="T36" fmla="*/ 56 w 452"/>
                  <a:gd name="T37" fmla="*/ 486 h 544"/>
                  <a:gd name="T38" fmla="*/ 4 w 452"/>
                  <a:gd name="T39" fmla="*/ 499 h 544"/>
                  <a:gd name="T40" fmla="*/ 4 w 452"/>
                  <a:gd name="T41" fmla="*/ 364 h 544"/>
                  <a:gd name="T42" fmla="*/ 12 w 452"/>
                  <a:gd name="T43" fmla="*/ 322 h 544"/>
                  <a:gd name="T44" fmla="*/ 16 w 452"/>
                  <a:gd name="T45" fmla="*/ 264 h 544"/>
                  <a:gd name="T46" fmla="*/ 33 w 452"/>
                  <a:gd name="T47" fmla="*/ 124 h 544"/>
                  <a:gd name="T48" fmla="*/ 49 w 452"/>
                  <a:gd name="T49" fmla="*/ 44 h 544"/>
                  <a:gd name="T50" fmla="*/ 107 w 452"/>
                  <a:gd name="T51" fmla="*/ 25 h 544"/>
                  <a:gd name="T52" fmla="*/ 163 w 452"/>
                  <a:gd name="T53" fmla="*/ 4 h 544"/>
                  <a:gd name="T54" fmla="*/ 196 w 452"/>
                  <a:gd name="T55" fmla="*/ 153 h 544"/>
                  <a:gd name="T56" fmla="*/ 228 w 452"/>
                  <a:gd name="T57" fmla="*/ 255 h 544"/>
                  <a:gd name="T58" fmla="*/ 244 w 452"/>
                  <a:gd name="T59" fmla="*/ 285 h 544"/>
                  <a:gd name="T60" fmla="*/ 251 w 452"/>
                  <a:gd name="T61" fmla="*/ 265 h 544"/>
                  <a:gd name="T62" fmla="*/ 256 w 452"/>
                  <a:gd name="T63" fmla="*/ 242 h 544"/>
                  <a:gd name="T64" fmla="*/ 285 w 452"/>
                  <a:gd name="T65" fmla="*/ 109 h 544"/>
                  <a:gd name="T66" fmla="*/ 289 w 452"/>
                  <a:gd name="T67" fmla="*/ 0 h 544"/>
                  <a:gd name="T68" fmla="*/ 80 w 452"/>
                  <a:gd name="T69" fmla="*/ 314 h 544"/>
                  <a:gd name="T70" fmla="*/ 80 w 452"/>
                  <a:gd name="T71" fmla="*/ 344 h 544"/>
                  <a:gd name="T72" fmla="*/ 80 w 452"/>
                  <a:gd name="T73" fmla="*/ 383 h 544"/>
                  <a:gd name="T74" fmla="*/ 92 w 452"/>
                  <a:gd name="T75" fmla="*/ 332 h 544"/>
                  <a:gd name="T76" fmla="*/ 92 w 452"/>
                  <a:gd name="T77" fmla="*/ 265 h 544"/>
                  <a:gd name="T78" fmla="*/ 80 w 452"/>
                  <a:gd name="T79" fmla="*/ 31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544">
                    <a:moveTo>
                      <a:pt x="289" y="0"/>
                    </a:moveTo>
                    <a:cubicBezTo>
                      <a:pt x="290" y="0"/>
                      <a:pt x="291" y="0"/>
                      <a:pt x="293" y="0"/>
                    </a:cubicBezTo>
                    <a:cubicBezTo>
                      <a:pt x="329" y="13"/>
                      <a:pt x="366" y="25"/>
                      <a:pt x="403" y="35"/>
                    </a:cubicBezTo>
                    <a:cubicBezTo>
                      <a:pt x="405" y="50"/>
                      <a:pt x="411" y="63"/>
                      <a:pt x="413" y="78"/>
                    </a:cubicBezTo>
                    <a:cubicBezTo>
                      <a:pt x="414" y="95"/>
                      <a:pt x="413" y="112"/>
                      <a:pt x="414" y="130"/>
                    </a:cubicBezTo>
                    <a:cubicBezTo>
                      <a:pt x="414" y="142"/>
                      <a:pt x="420" y="152"/>
                      <a:pt x="421" y="163"/>
                    </a:cubicBezTo>
                    <a:cubicBezTo>
                      <a:pt x="422" y="185"/>
                      <a:pt x="421" y="205"/>
                      <a:pt x="424" y="225"/>
                    </a:cubicBezTo>
                    <a:cubicBezTo>
                      <a:pt x="429" y="265"/>
                      <a:pt x="441" y="302"/>
                      <a:pt x="446" y="341"/>
                    </a:cubicBezTo>
                    <a:cubicBezTo>
                      <a:pt x="451" y="384"/>
                      <a:pt x="449" y="426"/>
                      <a:pt x="452" y="475"/>
                    </a:cubicBezTo>
                    <a:cubicBezTo>
                      <a:pt x="450" y="480"/>
                      <a:pt x="443" y="472"/>
                      <a:pt x="439" y="471"/>
                    </a:cubicBezTo>
                    <a:cubicBezTo>
                      <a:pt x="424" y="467"/>
                      <a:pt x="404" y="467"/>
                      <a:pt x="395" y="476"/>
                    </a:cubicBezTo>
                    <a:cubicBezTo>
                      <a:pt x="395" y="489"/>
                      <a:pt x="395" y="500"/>
                      <a:pt x="395" y="513"/>
                    </a:cubicBezTo>
                    <a:cubicBezTo>
                      <a:pt x="375" y="513"/>
                      <a:pt x="357" y="519"/>
                      <a:pt x="340" y="517"/>
                    </a:cubicBezTo>
                    <a:cubicBezTo>
                      <a:pt x="312" y="514"/>
                      <a:pt x="301" y="490"/>
                      <a:pt x="289" y="470"/>
                    </a:cubicBezTo>
                    <a:cubicBezTo>
                      <a:pt x="273" y="443"/>
                      <a:pt x="256" y="400"/>
                      <a:pt x="248" y="372"/>
                    </a:cubicBezTo>
                    <a:cubicBezTo>
                      <a:pt x="238" y="428"/>
                      <a:pt x="235" y="489"/>
                      <a:pt x="206" y="527"/>
                    </a:cubicBezTo>
                    <a:cubicBezTo>
                      <a:pt x="171" y="544"/>
                      <a:pt x="108" y="532"/>
                      <a:pt x="70" y="523"/>
                    </a:cubicBezTo>
                    <a:cubicBezTo>
                      <a:pt x="70" y="515"/>
                      <a:pt x="70" y="506"/>
                      <a:pt x="70" y="499"/>
                    </a:cubicBezTo>
                    <a:cubicBezTo>
                      <a:pt x="63" y="501"/>
                      <a:pt x="61" y="490"/>
                      <a:pt x="56" y="486"/>
                    </a:cubicBezTo>
                    <a:cubicBezTo>
                      <a:pt x="35" y="486"/>
                      <a:pt x="19" y="492"/>
                      <a:pt x="4" y="499"/>
                    </a:cubicBezTo>
                    <a:cubicBezTo>
                      <a:pt x="7" y="454"/>
                      <a:pt x="0" y="410"/>
                      <a:pt x="4" y="364"/>
                    </a:cubicBezTo>
                    <a:cubicBezTo>
                      <a:pt x="4" y="350"/>
                      <a:pt x="10" y="336"/>
                      <a:pt x="12" y="322"/>
                    </a:cubicBezTo>
                    <a:cubicBezTo>
                      <a:pt x="14" y="303"/>
                      <a:pt x="14" y="283"/>
                      <a:pt x="16" y="264"/>
                    </a:cubicBezTo>
                    <a:cubicBezTo>
                      <a:pt x="23" y="218"/>
                      <a:pt x="24" y="170"/>
                      <a:pt x="33" y="124"/>
                    </a:cubicBezTo>
                    <a:cubicBezTo>
                      <a:pt x="40" y="97"/>
                      <a:pt x="41" y="69"/>
                      <a:pt x="49" y="44"/>
                    </a:cubicBezTo>
                    <a:cubicBezTo>
                      <a:pt x="67" y="35"/>
                      <a:pt x="87" y="31"/>
                      <a:pt x="107" y="25"/>
                    </a:cubicBezTo>
                    <a:cubicBezTo>
                      <a:pt x="125" y="17"/>
                      <a:pt x="143" y="9"/>
                      <a:pt x="163" y="4"/>
                    </a:cubicBezTo>
                    <a:cubicBezTo>
                      <a:pt x="175" y="54"/>
                      <a:pt x="184" y="105"/>
                      <a:pt x="196" y="153"/>
                    </a:cubicBezTo>
                    <a:cubicBezTo>
                      <a:pt x="205" y="189"/>
                      <a:pt x="217" y="223"/>
                      <a:pt x="228" y="255"/>
                    </a:cubicBezTo>
                    <a:cubicBezTo>
                      <a:pt x="232" y="265"/>
                      <a:pt x="235" y="279"/>
                      <a:pt x="244" y="285"/>
                    </a:cubicBezTo>
                    <a:cubicBezTo>
                      <a:pt x="251" y="280"/>
                      <a:pt x="249" y="271"/>
                      <a:pt x="251" y="265"/>
                    </a:cubicBezTo>
                    <a:cubicBezTo>
                      <a:pt x="252" y="257"/>
                      <a:pt x="253" y="250"/>
                      <a:pt x="256" y="242"/>
                    </a:cubicBezTo>
                    <a:cubicBezTo>
                      <a:pt x="265" y="196"/>
                      <a:pt x="278" y="154"/>
                      <a:pt x="285" y="109"/>
                    </a:cubicBezTo>
                    <a:cubicBezTo>
                      <a:pt x="290" y="75"/>
                      <a:pt x="286" y="35"/>
                      <a:pt x="289" y="0"/>
                    </a:cubicBezTo>
                    <a:close/>
                    <a:moveTo>
                      <a:pt x="80" y="314"/>
                    </a:moveTo>
                    <a:cubicBezTo>
                      <a:pt x="79" y="323"/>
                      <a:pt x="82" y="334"/>
                      <a:pt x="80" y="344"/>
                    </a:cubicBezTo>
                    <a:cubicBezTo>
                      <a:pt x="80" y="356"/>
                      <a:pt x="76" y="370"/>
                      <a:pt x="80" y="383"/>
                    </a:cubicBezTo>
                    <a:cubicBezTo>
                      <a:pt x="84" y="367"/>
                      <a:pt x="88" y="350"/>
                      <a:pt x="92" y="332"/>
                    </a:cubicBezTo>
                    <a:cubicBezTo>
                      <a:pt x="96" y="313"/>
                      <a:pt x="101" y="281"/>
                      <a:pt x="92" y="265"/>
                    </a:cubicBezTo>
                    <a:cubicBezTo>
                      <a:pt x="91" y="284"/>
                      <a:pt x="83" y="297"/>
                      <a:pt x="80" y="314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64" name="Freeform 163">
                <a:extLst>
                  <a:ext uri="{FF2B5EF4-FFF2-40B4-BE49-F238E27FC236}">
                    <a16:creationId xmlns:a16="http://schemas.microsoft.com/office/drawing/2014/main" id="{A556FE6E-C1ED-4699-9FCD-0095CE5FDD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0225" y="1665292"/>
                <a:ext cx="839790" cy="1258889"/>
              </a:xfrm>
              <a:custGeom>
                <a:avLst/>
                <a:gdLst>
                  <a:gd name="T0" fmla="*/ 160 w 224"/>
                  <a:gd name="T1" fmla="*/ 0 h 336"/>
                  <a:gd name="T2" fmla="*/ 161 w 224"/>
                  <a:gd name="T3" fmla="*/ 0 h 336"/>
                  <a:gd name="T4" fmla="*/ 192 w 224"/>
                  <a:gd name="T5" fmla="*/ 20 h 336"/>
                  <a:gd name="T6" fmla="*/ 219 w 224"/>
                  <a:gd name="T7" fmla="*/ 62 h 336"/>
                  <a:gd name="T8" fmla="*/ 202 w 224"/>
                  <a:gd name="T9" fmla="*/ 79 h 336"/>
                  <a:gd name="T10" fmla="*/ 224 w 224"/>
                  <a:gd name="T11" fmla="*/ 101 h 336"/>
                  <a:gd name="T12" fmla="*/ 224 w 224"/>
                  <a:gd name="T13" fmla="*/ 104 h 336"/>
                  <a:gd name="T14" fmla="*/ 122 w 224"/>
                  <a:gd name="T15" fmla="*/ 336 h 336"/>
                  <a:gd name="T16" fmla="*/ 121 w 224"/>
                  <a:gd name="T17" fmla="*/ 308 h 336"/>
                  <a:gd name="T18" fmla="*/ 2 w 224"/>
                  <a:gd name="T19" fmla="*/ 111 h 336"/>
                  <a:gd name="T20" fmla="*/ 17 w 224"/>
                  <a:gd name="T21" fmla="*/ 84 h 336"/>
                  <a:gd name="T22" fmla="*/ 0 w 224"/>
                  <a:gd name="T23" fmla="*/ 65 h 336"/>
                  <a:gd name="T24" fmla="*/ 0 w 224"/>
                  <a:gd name="T25" fmla="*/ 63 h 336"/>
                  <a:gd name="T26" fmla="*/ 48 w 224"/>
                  <a:gd name="T27" fmla="*/ 8 h 336"/>
                  <a:gd name="T28" fmla="*/ 122 w 224"/>
                  <a:gd name="T29" fmla="*/ 293 h 336"/>
                  <a:gd name="T30" fmla="*/ 160 w 224"/>
                  <a:gd name="T3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4" h="336">
                    <a:moveTo>
                      <a:pt x="160" y="0"/>
                    </a:moveTo>
                    <a:cubicBezTo>
                      <a:pt x="160" y="0"/>
                      <a:pt x="160" y="0"/>
                      <a:pt x="161" y="0"/>
                    </a:cubicBezTo>
                    <a:cubicBezTo>
                      <a:pt x="169" y="9"/>
                      <a:pt x="177" y="18"/>
                      <a:pt x="192" y="20"/>
                    </a:cubicBezTo>
                    <a:cubicBezTo>
                      <a:pt x="200" y="35"/>
                      <a:pt x="210" y="48"/>
                      <a:pt x="219" y="62"/>
                    </a:cubicBezTo>
                    <a:cubicBezTo>
                      <a:pt x="217" y="69"/>
                      <a:pt x="206" y="72"/>
                      <a:pt x="202" y="79"/>
                    </a:cubicBezTo>
                    <a:cubicBezTo>
                      <a:pt x="209" y="87"/>
                      <a:pt x="217" y="95"/>
                      <a:pt x="224" y="101"/>
                    </a:cubicBezTo>
                    <a:cubicBezTo>
                      <a:pt x="224" y="102"/>
                      <a:pt x="224" y="104"/>
                      <a:pt x="224" y="104"/>
                    </a:cubicBezTo>
                    <a:cubicBezTo>
                      <a:pt x="197" y="189"/>
                      <a:pt x="160" y="263"/>
                      <a:pt x="122" y="336"/>
                    </a:cubicBezTo>
                    <a:cubicBezTo>
                      <a:pt x="117" y="333"/>
                      <a:pt x="118" y="315"/>
                      <a:pt x="121" y="308"/>
                    </a:cubicBezTo>
                    <a:cubicBezTo>
                      <a:pt x="77" y="247"/>
                      <a:pt x="35" y="184"/>
                      <a:pt x="2" y="111"/>
                    </a:cubicBezTo>
                    <a:cubicBezTo>
                      <a:pt x="6" y="101"/>
                      <a:pt x="12" y="93"/>
                      <a:pt x="17" y="84"/>
                    </a:cubicBezTo>
                    <a:cubicBezTo>
                      <a:pt x="15" y="76"/>
                      <a:pt x="7" y="72"/>
                      <a:pt x="0" y="65"/>
                    </a:cubicBezTo>
                    <a:cubicBezTo>
                      <a:pt x="0" y="65"/>
                      <a:pt x="0" y="64"/>
                      <a:pt x="0" y="63"/>
                    </a:cubicBezTo>
                    <a:cubicBezTo>
                      <a:pt x="16" y="44"/>
                      <a:pt x="25" y="18"/>
                      <a:pt x="48" y="8"/>
                    </a:cubicBezTo>
                    <a:cubicBezTo>
                      <a:pt x="73" y="104"/>
                      <a:pt x="95" y="200"/>
                      <a:pt x="122" y="293"/>
                    </a:cubicBezTo>
                    <a:cubicBezTo>
                      <a:pt x="136" y="198"/>
                      <a:pt x="164" y="114"/>
                      <a:pt x="160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65" name="Freeform 164">
                <a:extLst>
                  <a:ext uri="{FF2B5EF4-FFF2-40B4-BE49-F238E27FC236}">
                    <a16:creationId xmlns:a16="http://schemas.microsoft.com/office/drawing/2014/main" id="{D896054A-24BC-479A-8AB0-9A7B548704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11" y="1619255"/>
                <a:ext cx="165099" cy="330202"/>
              </a:xfrm>
              <a:custGeom>
                <a:avLst/>
                <a:gdLst>
                  <a:gd name="T0" fmla="*/ 0 w 44"/>
                  <a:gd name="T1" fmla="*/ 21 h 88"/>
                  <a:gd name="T2" fmla="*/ 0 w 44"/>
                  <a:gd name="T3" fmla="*/ 21 h 88"/>
                  <a:gd name="T4" fmla="*/ 12 w 44"/>
                  <a:gd name="T5" fmla="*/ 0 h 88"/>
                  <a:gd name="T6" fmla="*/ 44 w 44"/>
                  <a:gd name="T7" fmla="*/ 46 h 88"/>
                  <a:gd name="T8" fmla="*/ 19 w 44"/>
                  <a:gd name="T9" fmla="*/ 88 h 88"/>
                  <a:gd name="T10" fmla="*/ 0 w 44"/>
                  <a:gd name="T11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88">
                    <a:moveTo>
                      <a:pt x="0" y="21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8" y="17"/>
                      <a:pt x="6" y="4"/>
                      <a:pt x="12" y="0"/>
                    </a:cubicBezTo>
                    <a:cubicBezTo>
                      <a:pt x="17" y="21"/>
                      <a:pt x="35" y="28"/>
                      <a:pt x="44" y="46"/>
                    </a:cubicBezTo>
                    <a:cubicBezTo>
                      <a:pt x="32" y="56"/>
                      <a:pt x="35" y="82"/>
                      <a:pt x="19" y="88"/>
                    </a:cubicBezTo>
                    <a:cubicBezTo>
                      <a:pt x="11" y="63"/>
                      <a:pt x="8" y="50"/>
                      <a:pt x="0" y="21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66" name="Freeform 165">
                <a:extLst>
                  <a:ext uri="{FF2B5EF4-FFF2-40B4-BE49-F238E27FC236}">
                    <a16:creationId xmlns:a16="http://schemas.microsoft.com/office/drawing/2014/main" id="{727758B4-4EAF-4DFC-A1C6-8E1B89332E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26" y="1619255"/>
                <a:ext cx="134939" cy="346075"/>
              </a:xfrm>
              <a:custGeom>
                <a:avLst/>
                <a:gdLst>
                  <a:gd name="T0" fmla="*/ 22 w 36"/>
                  <a:gd name="T1" fmla="*/ 0 h 92"/>
                  <a:gd name="T2" fmla="*/ 22 w 36"/>
                  <a:gd name="T3" fmla="*/ 92 h 92"/>
                  <a:gd name="T4" fmla="*/ 0 w 36"/>
                  <a:gd name="T5" fmla="*/ 46 h 92"/>
                  <a:gd name="T6" fmla="*/ 22 w 36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92">
                    <a:moveTo>
                      <a:pt x="22" y="0"/>
                    </a:moveTo>
                    <a:cubicBezTo>
                      <a:pt x="36" y="13"/>
                      <a:pt x="29" y="69"/>
                      <a:pt x="22" y="92"/>
                    </a:cubicBezTo>
                    <a:cubicBezTo>
                      <a:pt x="3" y="91"/>
                      <a:pt x="8" y="55"/>
                      <a:pt x="0" y="46"/>
                    </a:cubicBezTo>
                    <a:cubicBezTo>
                      <a:pt x="4" y="29"/>
                      <a:pt x="22" y="26"/>
                      <a:pt x="22" y="0"/>
                    </a:cubicBezTo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67" name="Freeform 166">
                <a:extLst>
                  <a:ext uri="{FF2B5EF4-FFF2-40B4-BE49-F238E27FC236}">
                    <a16:creationId xmlns:a16="http://schemas.microsoft.com/office/drawing/2014/main" id="{7A88F1BE-6878-4A35-9344-EBB4801035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274" y="955678"/>
                <a:ext cx="581026" cy="346075"/>
              </a:xfrm>
              <a:custGeom>
                <a:avLst/>
                <a:gdLst>
                  <a:gd name="T0" fmla="*/ 20 w 155"/>
                  <a:gd name="T1" fmla="*/ 49 h 92"/>
                  <a:gd name="T2" fmla="*/ 54 w 155"/>
                  <a:gd name="T3" fmla="*/ 54 h 92"/>
                  <a:gd name="T4" fmla="*/ 98 w 155"/>
                  <a:gd name="T5" fmla="*/ 59 h 92"/>
                  <a:gd name="T6" fmla="*/ 128 w 155"/>
                  <a:gd name="T7" fmla="*/ 67 h 92"/>
                  <a:gd name="T8" fmla="*/ 136 w 155"/>
                  <a:gd name="T9" fmla="*/ 92 h 92"/>
                  <a:gd name="T10" fmla="*/ 105 w 155"/>
                  <a:gd name="T11" fmla="*/ 5 h 92"/>
                  <a:gd name="T12" fmla="*/ 55 w 155"/>
                  <a:gd name="T13" fmla="*/ 4 h 92"/>
                  <a:gd name="T14" fmla="*/ 24 w 155"/>
                  <a:gd name="T15" fmla="*/ 21 h 92"/>
                  <a:gd name="T16" fmla="*/ 0 w 155"/>
                  <a:gd name="T17" fmla="*/ 45 h 92"/>
                  <a:gd name="T18" fmla="*/ 6 w 155"/>
                  <a:gd name="T19" fmla="*/ 91 h 92"/>
                  <a:gd name="T20" fmla="*/ 7 w 155"/>
                  <a:gd name="T21" fmla="*/ 91 h 92"/>
                  <a:gd name="T22" fmla="*/ 20 w 155"/>
                  <a:gd name="T23" fmla="*/ 4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5" h="92">
                    <a:moveTo>
                      <a:pt x="20" y="49"/>
                    </a:moveTo>
                    <a:cubicBezTo>
                      <a:pt x="28" y="48"/>
                      <a:pt x="33" y="47"/>
                      <a:pt x="54" y="54"/>
                    </a:cubicBezTo>
                    <a:cubicBezTo>
                      <a:pt x="75" y="60"/>
                      <a:pt x="90" y="69"/>
                      <a:pt x="98" y="59"/>
                    </a:cubicBezTo>
                    <a:cubicBezTo>
                      <a:pt x="107" y="49"/>
                      <a:pt x="127" y="62"/>
                      <a:pt x="128" y="67"/>
                    </a:cubicBezTo>
                    <a:cubicBezTo>
                      <a:pt x="130" y="73"/>
                      <a:pt x="136" y="92"/>
                      <a:pt x="136" y="92"/>
                    </a:cubicBezTo>
                    <a:cubicBezTo>
                      <a:pt x="155" y="54"/>
                      <a:pt x="132" y="19"/>
                      <a:pt x="105" y="5"/>
                    </a:cubicBezTo>
                    <a:cubicBezTo>
                      <a:pt x="86" y="5"/>
                      <a:pt x="69" y="0"/>
                      <a:pt x="55" y="4"/>
                    </a:cubicBezTo>
                    <a:cubicBezTo>
                      <a:pt x="43" y="6"/>
                      <a:pt x="34" y="15"/>
                      <a:pt x="24" y="21"/>
                    </a:cubicBezTo>
                    <a:cubicBezTo>
                      <a:pt x="15" y="29"/>
                      <a:pt x="4" y="35"/>
                      <a:pt x="0" y="45"/>
                    </a:cubicBezTo>
                    <a:cubicBezTo>
                      <a:pt x="1" y="62"/>
                      <a:pt x="1" y="77"/>
                      <a:pt x="6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9" y="82"/>
                      <a:pt x="14" y="51"/>
                      <a:pt x="20" y="49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68" name="Freeform 167">
                <a:extLst>
                  <a:ext uri="{FF2B5EF4-FFF2-40B4-BE49-F238E27FC236}">
                    <a16:creationId xmlns:a16="http://schemas.microsoft.com/office/drawing/2014/main" id="{B132C789-3145-4FDA-9C6E-80890FC5AC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6312" y="2133606"/>
                <a:ext cx="71438" cy="96838"/>
              </a:xfrm>
              <a:custGeom>
                <a:avLst/>
                <a:gdLst>
                  <a:gd name="T0" fmla="*/ 5 w 19"/>
                  <a:gd name="T1" fmla="*/ 10 h 26"/>
                  <a:gd name="T2" fmla="*/ 11 w 19"/>
                  <a:gd name="T3" fmla="*/ 2 h 26"/>
                  <a:gd name="T4" fmla="*/ 15 w 19"/>
                  <a:gd name="T5" fmla="*/ 10 h 26"/>
                  <a:gd name="T6" fmla="*/ 0 w 19"/>
                  <a:gd name="T7" fmla="*/ 22 h 26"/>
                  <a:gd name="T8" fmla="*/ 5 w 19"/>
                  <a:gd name="T9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6">
                    <a:moveTo>
                      <a:pt x="5" y="10"/>
                    </a:moveTo>
                    <a:cubicBezTo>
                      <a:pt x="9" y="6"/>
                      <a:pt x="5" y="0"/>
                      <a:pt x="11" y="2"/>
                    </a:cubicBezTo>
                    <a:cubicBezTo>
                      <a:pt x="16" y="4"/>
                      <a:pt x="19" y="5"/>
                      <a:pt x="15" y="10"/>
                    </a:cubicBezTo>
                    <a:cubicBezTo>
                      <a:pt x="11" y="16"/>
                      <a:pt x="0" y="26"/>
                      <a:pt x="0" y="22"/>
                    </a:cubicBezTo>
                    <a:cubicBezTo>
                      <a:pt x="0" y="19"/>
                      <a:pt x="5" y="10"/>
                      <a:pt x="5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69" name="Freeform 168">
                <a:extLst>
                  <a:ext uri="{FF2B5EF4-FFF2-40B4-BE49-F238E27FC236}">
                    <a16:creationId xmlns:a16="http://schemas.microsoft.com/office/drawing/2014/main" id="{38F3AFE1-2110-400E-BE44-E5F137B672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61" y="2354269"/>
                <a:ext cx="71438" cy="93661"/>
              </a:xfrm>
              <a:custGeom>
                <a:avLst/>
                <a:gdLst>
                  <a:gd name="T0" fmla="*/ 6 w 19"/>
                  <a:gd name="T1" fmla="*/ 10 h 25"/>
                  <a:gd name="T2" fmla="*/ 11 w 19"/>
                  <a:gd name="T3" fmla="*/ 2 h 25"/>
                  <a:gd name="T4" fmla="*/ 15 w 19"/>
                  <a:gd name="T5" fmla="*/ 10 h 25"/>
                  <a:gd name="T6" fmla="*/ 0 w 19"/>
                  <a:gd name="T7" fmla="*/ 22 h 25"/>
                  <a:gd name="T8" fmla="*/ 6 w 19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6" y="10"/>
                    </a:moveTo>
                    <a:cubicBezTo>
                      <a:pt x="9" y="5"/>
                      <a:pt x="6" y="0"/>
                      <a:pt x="11" y="2"/>
                    </a:cubicBezTo>
                    <a:cubicBezTo>
                      <a:pt x="16" y="4"/>
                      <a:pt x="19" y="4"/>
                      <a:pt x="15" y="10"/>
                    </a:cubicBezTo>
                    <a:cubicBezTo>
                      <a:pt x="11" y="15"/>
                      <a:pt x="0" y="25"/>
                      <a:pt x="0" y="22"/>
                    </a:cubicBezTo>
                    <a:cubicBezTo>
                      <a:pt x="0" y="19"/>
                      <a:pt x="6" y="10"/>
                      <a:pt x="6" y="1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70" name="Freeform 169">
                <a:extLst>
                  <a:ext uri="{FF2B5EF4-FFF2-40B4-BE49-F238E27FC236}">
                    <a16:creationId xmlns:a16="http://schemas.microsoft.com/office/drawing/2014/main" id="{F136E356-8766-48E9-9EED-92B166CA09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349" y="2073282"/>
                <a:ext cx="49214" cy="630240"/>
              </a:xfrm>
              <a:custGeom>
                <a:avLst/>
                <a:gdLst>
                  <a:gd name="T0" fmla="*/ 10 w 13"/>
                  <a:gd name="T1" fmla="*/ 168 h 168"/>
                  <a:gd name="T2" fmla="*/ 6 w 13"/>
                  <a:gd name="T3" fmla="*/ 39 h 168"/>
                  <a:gd name="T4" fmla="*/ 6 w 13"/>
                  <a:gd name="T5" fmla="*/ 10 h 168"/>
                  <a:gd name="T6" fmla="*/ 13 w 13"/>
                  <a:gd name="T7" fmla="*/ 10 h 168"/>
                  <a:gd name="T8" fmla="*/ 10 w 13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68">
                    <a:moveTo>
                      <a:pt x="10" y="168"/>
                    </a:moveTo>
                    <a:cubicBezTo>
                      <a:pt x="10" y="168"/>
                      <a:pt x="11" y="61"/>
                      <a:pt x="6" y="39"/>
                    </a:cubicBezTo>
                    <a:cubicBezTo>
                      <a:pt x="0" y="17"/>
                      <a:pt x="2" y="10"/>
                      <a:pt x="6" y="10"/>
                    </a:cubicBezTo>
                    <a:cubicBezTo>
                      <a:pt x="10" y="10"/>
                      <a:pt x="13" y="0"/>
                      <a:pt x="13" y="10"/>
                    </a:cubicBezTo>
                    <a:cubicBezTo>
                      <a:pt x="13" y="20"/>
                      <a:pt x="10" y="168"/>
                      <a:pt x="10" y="168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71" name="Freeform 170">
                <a:extLst>
                  <a:ext uri="{FF2B5EF4-FFF2-40B4-BE49-F238E27FC236}">
                    <a16:creationId xmlns:a16="http://schemas.microsoft.com/office/drawing/2014/main" id="{A28D8114-9D89-428C-ABC4-D5FF943F86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853" y="2106619"/>
                <a:ext cx="98425" cy="1320804"/>
              </a:xfrm>
              <a:custGeom>
                <a:avLst/>
                <a:gdLst>
                  <a:gd name="T0" fmla="*/ 26 w 26"/>
                  <a:gd name="T1" fmla="*/ 352 h 352"/>
                  <a:gd name="T2" fmla="*/ 7 w 26"/>
                  <a:gd name="T3" fmla="*/ 213 h 352"/>
                  <a:gd name="T4" fmla="*/ 7 w 26"/>
                  <a:gd name="T5" fmla="*/ 145 h 352"/>
                  <a:gd name="T6" fmla="*/ 0 w 26"/>
                  <a:gd name="T7" fmla="*/ 30 h 352"/>
                  <a:gd name="T8" fmla="*/ 10 w 26"/>
                  <a:gd name="T9" fmla="*/ 0 h 352"/>
                  <a:gd name="T10" fmla="*/ 10 w 26"/>
                  <a:gd name="T11" fmla="*/ 6 h 352"/>
                  <a:gd name="T12" fmla="*/ 26 w 26"/>
                  <a:gd name="T13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52">
                    <a:moveTo>
                      <a:pt x="26" y="352"/>
                    </a:moveTo>
                    <a:cubicBezTo>
                      <a:pt x="26" y="347"/>
                      <a:pt x="8" y="236"/>
                      <a:pt x="7" y="213"/>
                    </a:cubicBezTo>
                    <a:cubicBezTo>
                      <a:pt x="6" y="189"/>
                      <a:pt x="9" y="165"/>
                      <a:pt x="7" y="145"/>
                    </a:cubicBezTo>
                    <a:cubicBezTo>
                      <a:pt x="5" y="126"/>
                      <a:pt x="0" y="48"/>
                      <a:pt x="0" y="30"/>
                    </a:cubicBezTo>
                    <a:cubicBezTo>
                      <a:pt x="1" y="12"/>
                      <a:pt x="10" y="0"/>
                      <a:pt x="10" y="0"/>
                    </a:cubicBezTo>
                    <a:cubicBezTo>
                      <a:pt x="10" y="6"/>
                      <a:pt x="10" y="6"/>
                      <a:pt x="10" y="6"/>
                    </a:cubicBezTo>
                    <a:lnTo>
                      <a:pt x="26" y="352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72" name="Freeform 171">
                <a:extLst>
                  <a:ext uri="{FF2B5EF4-FFF2-40B4-BE49-F238E27FC236}">
                    <a16:creationId xmlns:a16="http://schemas.microsoft.com/office/drawing/2014/main" id="{1B3B7390-F7FC-4C92-9364-FDC314DDDB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76" y="3135321"/>
                <a:ext cx="222250" cy="58738"/>
              </a:xfrm>
              <a:custGeom>
                <a:avLst/>
                <a:gdLst>
                  <a:gd name="T0" fmla="*/ 0 w 59"/>
                  <a:gd name="T1" fmla="*/ 16 h 16"/>
                  <a:gd name="T2" fmla="*/ 52 w 59"/>
                  <a:gd name="T3" fmla="*/ 7 h 16"/>
                  <a:gd name="T4" fmla="*/ 59 w 59"/>
                  <a:gd name="T5" fmla="*/ 7 h 16"/>
                  <a:gd name="T6" fmla="*/ 0 w 59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16">
                    <a:moveTo>
                      <a:pt x="0" y="16"/>
                    </a:moveTo>
                    <a:cubicBezTo>
                      <a:pt x="0" y="16"/>
                      <a:pt x="49" y="13"/>
                      <a:pt x="52" y="7"/>
                    </a:cubicBezTo>
                    <a:cubicBezTo>
                      <a:pt x="55" y="0"/>
                      <a:pt x="59" y="3"/>
                      <a:pt x="59" y="7"/>
                    </a:cubicBezTo>
                    <a:cubicBezTo>
                      <a:pt x="58" y="11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73" name="Freeform 172">
                <a:extLst>
                  <a:ext uri="{FF2B5EF4-FFF2-40B4-BE49-F238E27FC236}">
                    <a16:creationId xmlns:a16="http://schemas.microsoft.com/office/drawing/2014/main" id="{781010C9-F895-443B-B8AC-6A3073F3D8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27" y="3224223"/>
                <a:ext cx="198440" cy="282574"/>
              </a:xfrm>
              <a:custGeom>
                <a:avLst/>
                <a:gdLst>
                  <a:gd name="T0" fmla="*/ 44 w 53"/>
                  <a:gd name="T1" fmla="*/ 0 h 75"/>
                  <a:gd name="T2" fmla="*/ 53 w 53"/>
                  <a:gd name="T3" fmla="*/ 75 h 75"/>
                  <a:gd name="T4" fmla="*/ 24 w 53"/>
                  <a:gd name="T5" fmla="*/ 75 h 75"/>
                  <a:gd name="T6" fmla="*/ 14 w 53"/>
                  <a:gd name="T7" fmla="*/ 69 h 75"/>
                  <a:gd name="T8" fmla="*/ 34 w 53"/>
                  <a:gd name="T9" fmla="*/ 61 h 75"/>
                  <a:gd name="T10" fmla="*/ 22 w 53"/>
                  <a:gd name="T11" fmla="*/ 38 h 75"/>
                  <a:gd name="T12" fmla="*/ 44 w 53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75">
                    <a:moveTo>
                      <a:pt x="44" y="0"/>
                    </a:moveTo>
                    <a:cubicBezTo>
                      <a:pt x="53" y="75"/>
                      <a:pt x="53" y="75"/>
                      <a:pt x="53" y="75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0" y="69"/>
                      <a:pt x="14" y="69"/>
                    </a:cubicBezTo>
                    <a:cubicBezTo>
                      <a:pt x="29" y="68"/>
                      <a:pt x="42" y="73"/>
                      <a:pt x="34" y="61"/>
                    </a:cubicBezTo>
                    <a:cubicBezTo>
                      <a:pt x="27" y="48"/>
                      <a:pt x="6" y="41"/>
                      <a:pt x="22" y="38"/>
                    </a:cubicBezTo>
                    <a:cubicBezTo>
                      <a:pt x="38" y="34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74" name="Freeform 173">
                <a:extLst>
                  <a:ext uri="{FF2B5EF4-FFF2-40B4-BE49-F238E27FC236}">
                    <a16:creationId xmlns:a16="http://schemas.microsoft.com/office/drawing/2014/main" id="{3F09D89E-A656-4BD5-A738-B6E60F833F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22" y="2576519"/>
                <a:ext cx="60324" cy="490537"/>
              </a:xfrm>
              <a:custGeom>
                <a:avLst/>
                <a:gdLst>
                  <a:gd name="T0" fmla="*/ 0 w 38"/>
                  <a:gd name="T1" fmla="*/ 0 h 309"/>
                  <a:gd name="T2" fmla="*/ 29 w 38"/>
                  <a:gd name="T3" fmla="*/ 309 h 309"/>
                  <a:gd name="T4" fmla="*/ 38 w 38"/>
                  <a:gd name="T5" fmla="*/ 293 h 309"/>
                  <a:gd name="T6" fmla="*/ 0 w 38"/>
                  <a:gd name="T7" fmla="*/ 0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9">
                    <a:moveTo>
                      <a:pt x="0" y="0"/>
                    </a:moveTo>
                    <a:lnTo>
                      <a:pt x="29" y="309"/>
                    </a:lnTo>
                    <a:lnTo>
                      <a:pt x="38" y="2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75" name="Freeform 174">
                <a:extLst>
                  <a:ext uri="{FF2B5EF4-FFF2-40B4-BE49-F238E27FC236}">
                    <a16:creationId xmlns:a16="http://schemas.microsoft.com/office/drawing/2014/main" id="{3356080E-6C5C-4FC0-AEC4-80C22D12E3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157549"/>
                <a:ext cx="288924" cy="93661"/>
              </a:xfrm>
              <a:custGeom>
                <a:avLst/>
                <a:gdLst>
                  <a:gd name="T0" fmla="*/ 0 w 77"/>
                  <a:gd name="T1" fmla="*/ 0 h 25"/>
                  <a:gd name="T2" fmla="*/ 75 w 77"/>
                  <a:gd name="T3" fmla="*/ 10 h 25"/>
                  <a:gd name="T4" fmla="*/ 68 w 77"/>
                  <a:gd name="T5" fmla="*/ 25 h 25"/>
                  <a:gd name="T6" fmla="*/ 0 w 77"/>
                  <a:gd name="T7" fmla="*/ 12 h 25"/>
                  <a:gd name="T8" fmla="*/ 0 w 7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25">
                    <a:moveTo>
                      <a:pt x="0" y="0"/>
                    </a:moveTo>
                    <a:cubicBezTo>
                      <a:pt x="0" y="0"/>
                      <a:pt x="73" y="9"/>
                      <a:pt x="75" y="10"/>
                    </a:cubicBezTo>
                    <a:cubicBezTo>
                      <a:pt x="77" y="11"/>
                      <a:pt x="68" y="25"/>
                      <a:pt x="68" y="25"/>
                    </a:cubicBezTo>
                    <a:cubicBezTo>
                      <a:pt x="0" y="12"/>
                      <a:pt x="0" y="12"/>
                      <a:pt x="0" y="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76" name="Freeform 175">
                <a:extLst>
                  <a:ext uri="{FF2B5EF4-FFF2-40B4-BE49-F238E27FC236}">
                    <a16:creationId xmlns:a16="http://schemas.microsoft.com/office/drawing/2014/main" id="{673E1B53-FEB7-464B-A979-416A853627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833" y="3333761"/>
                <a:ext cx="242887" cy="236537"/>
              </a:xfrm>
              <a:custGeom>
                <a:avLst/>
                <a:gdLst>
                  <a:gd name="T0" fmla="*/ 65 w 65"/>
                  <a:gd name="T1" fmla="*/ 0 h 63"/>
                  <a:gd name="T2" fmla="*/ 50 w 65"/>
                  <a:gd name="T3" fmla="*/ 60 h 63"/>
                  <a:gd name="T4" fmla="*/ 9 w 65"/>
                  <a:gd name="T5" fmla="*/ 52 h 63"/>
                  <a:gd name="T6" fmla="*/ 18 w 65"/>
                  <a:gd name="T7" fmla="*/ 46 h 63"/>
                  <a:gd name="T8" fmla="*/ 49 w 65"/>
                  <a:gd name="T9" fmla="*/ 46 h 63"/>
                  <a:gd name="T10" fmla="*/ 65 w 65"/>
                  <a:gd name="T1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3">
                    <a:moveTo>
                      <a:pt x="65" y="0"/>
                    </a:moveTo>
                    <a:cubicBezTo>
                      <a:pt x="50" y="60"/>
                      <a:pt x="50" y="60"/>
                      <a:pt x="50" y="6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9" y="52"/>
                      <a:pt x="0" y="47"/>
                      <a:pt x="18" y="46"/>
                    </a:cubicBezTo>
                    <a:cubicBezTo>
                      <a:pt x="36" y="46"/>
                      <a:pt x="48" y="63"/>
                      <a:pt x="49" y="46"/>
                    </a:cubicBezTo>
                    <a:cubicBezTo>
                      <a:pt x="50" y="30"/>
                      <a:pt x="65" y="0"/>
                      <a:pt x="65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77" name="Freeform 176">
                <a:extLst>
                  <a:ext uri="{FF2B5EF4-FFF2-40B4-BE49-F238E27FC236}">
                    <a16:creationId xmlns:a16="http://schemas.microsoft.com/office/drawing/2014/main" id="{26CDFAFB-5464-4F88-AEE5-15EFE131AA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183" y="2201870"/>
                <a:ext cx="41274" cy="168276"/>
              </a:xfrm>
              <a:custGeom>
                <a:avLst/>
                <a:gdLst>
                  <a:gd name="T0" fmla="*/ 0 w 11"/>
                  <a:gd name="T1" fmla="*/ 0 h 45"/>
                  <a:gd name="T2" fmla="*/ 0 w 11"/>
                  <a:gd name="T3" fmla="*/ 21 h 45"/>
                  <a:gd name="T4" fmla="*/ 2 w 11"/>
                  <a:gd name="T5" fmla="*/ 42 h 45"/>
                  <a:gd name="T6" fmla="*/ 10 w 11"/>
                  <a:gd name="T7" fmla="*/ 5 h 45"/>
                  <a:gd name="T8" fmla="*/ 0 w 1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5">
                    <a:moveTo>
                      <a:pt x="0" y="0"/>
                    </a:moveTo>
                    <a:cubicBezTo>
                      <a:pt x="0" y="5"/>
                      <a:pt x="0" y="13"/>
                      <a:pt x="0" y="21"/>
                    </a:cubicBezTo>
                    <a:cubicBezTo>
                      <a:pt x="1" y="31"/>
                      <a:pt x="2" y="41"/>
                      <a:pt x="2" y="42"/>
                    </a:cubicBezTo>
                    <a:cubicBezTo>
                      <a:pt x="4" y="45"/>
                      <a:pt x="11" y="8"/>
                      <a:pt x="10" y="5"/>
                    </a:cubicBezTo>
                    <a:cubicBezTo>
                      <a:pt x="8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78" name="Freeform 177">
                <a:extLst>
                  <a:ext uri="{FF2B5EF4-FFF2-40B4-BE49-F238E27FC236}">
                    <a16:creationId xmlns:a16="http://schemas.microsoft.com/office/drawing/2014/main" id="{501197F2-1156-482A-91C0-4395279B95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758" y="2786069"/>
                <a:ext cx="150812" cy="352425"/>
              </a:xfrm>
              <a:custGeom>
                <a:avLst/>
                <a:gdLst>
                  <a:gd name="T0" fmla="*/ 0 w 40"/>
                  <a:gd name="T1" fmla="*/ 0 h 94"/>
                  <a:gd name="T2" fmla="*/ 20 w 40"/>
                  <a:gd name="T3" fmla="*/ 64 h 94"/>
                  <a:gd name="T4" fmla="*/ 36 w 40"/>
                  <a:gd name="T5" fmla="*/ 82 h 94"/>
                  <a:gd name="T6" fmla="*/ 14 w 40"/>
                  <a:gd name="T7" fmla="*/ 26 h 94"/>
                  <a:gd name="T8" fmla="*/ 0 w 40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94">
                    <a:moveTo>
                      <a:pt x="0" y="0"/>
                    </a:moveTo>
                    <a:cubicBezTo>
                      <a:pt x="0" y="0"/>
                      <a:pt x="12" y="47"/>
                      <a:pt x="20" y="64"/>
                    </a:cubicBezTo>
                    <a:cubicBezTo>
                      <a:pt x="28" y="82"/>
                      <a:pt x="40" y="94"/>
                      <a:pt x="36" y="82"/>
                    </a:cubicBezTo>
                    <a:cubicBezTo>
                      <a:pt x="32" y="69"/>
                      <a:pt x="20" y="36"/>
                      <a:pt x="14" y="26"/>
                    </a:cubicBezTo>
                    <a:cubicBezTo>
                      <a:pt x="9" y="1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79" name="Freeform 178">
                <a:extLst>
                  <a:ext uri="{FF2B5EF4-FFF2-40B4-BE49-F238E27FC236}">
                    <a16:creationId xmlns:a16="http://schemas.microsoft.com/office/drawing/2014/main" id="{8E8984E9-B2D5-485B-9C03-95A4A846DB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9736" y="2860684"/>
                <a:ext cx="49214" cy="247650"/>
              </a:xfrm>
              <a:custGeom>
                <a:avLst/>
                <a:gdLst>
                  <a:gd name="T0" fmla="*/ 0 w 13"/>
                  <a:gd name="T1" fmla="*/ 0 h 66"/>
                  <a:gd name="T2" fmla="*/ 10 w 13"/>
                  <a:gd name="T3" fmla="*/ 31 h 66"/>
                  <a:gd name="T4" fmla="*/ 6 w 13"/>
                  <a:gd name="T5" fmla="*/ 50 h 66"/>
                  <a:gd name="T6" fmla="*/ 0 w 13"/>
                  <a:gd name="T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66">
                    <a:moveTo>
                      <a:pt x="0" y="0"/>
                    </a:moveTo>
                    <a:cubicBezTo>
                      <a:pt x="0" y="0"/>
                      <a:pt x="13" y="15"/>
                      <a:pt x="10" y="31"/>
                    </a:cubicBezTo>
                    <a:cubicBezTo>
                      <a:pt x="8" y="47"/>
                      <a:pt x="5" y="66"/>
                      <a:pt x="6" y="50"/>
                    </a:cubicBezTo>
                    <a:cubicBezTo>
                      <a:pt x="6" y="35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80" name="Freeform 188">
                <a:extLst>
                  <a:ext uri="{FF2B5EF4-FFF2-40B4-BE49-F238E27FC236}">
                    <a16:creationId xmlns:a16="http://schemas.microsoft.com/office/drawing/2014/main" id="{BB8014D8-66D5-48F1-934F-A98A95EC61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994" y="1544640"/>
                <a:ext cx="349252" cy="131762"/>
              </a:xfrm>
              <a:custGeom>
                <a:avLst/>
                <a:gdLst>
                  <a:gd name="T0" fmla="*/ 0 w 93"/>
                  <a:gd name="T1" fmla="*/ 0 h 35"/>
                  <a:gd name="T2" fmla="*/ 33 w 93"/>
                  <a:gd name="T3" fmla="*/ 29 h 35"/>
                  <a:gd name="T4" fmla="*/ 68 w 93"/>
                  <a:gd name="T5" fmla="*/ 24 h 35"/>
                  <a:gd name="T6" fmla="*/ 85 w 93"/>
                  <a:gd name="T7" fmla="*/ 7 h 35"/>
                  <a:gd name="T8" fmla="*/ 92 w 93"/>
                  <a:gd name="T9" fmla="*/ 6 h 35"/>
                  <a:gd name="T10" fmla="*/ 85 w 93"/>
                  <a:gd name="T11" fmla="*/ 19 h 35"/>
                  <a:gd name="T12" fmla="*/ 67 w 93"/>
                  <a:gd name="T13" fmla="*/ 32 h 35"/>
                  <a:gd name="T14" fmla="*/ 28 w 93"/>
                  <a:gd name="T15" fmla="*/ 32 h 35"/>
                  <a:gd name="T16" fmla="*/ 0 w 93"/>
                  <a:gd name="T1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35">
                    <a:moveTo>
                      <a:pt x="0" y="0"/>
                    </a:moveTo>
                    <a:cubicBezTo>
                      <a:pt x="2" y="4"/>
                      <a:pt x="21" y="25"/>
                      <a:pt x="33" y="29"/>
                    </a:cubicBezTo>
                    <a:cubicBezTo>
                      <a:pt x="45" y="32"/>
                      <a:pt x="63" y="29"/>
                      <a:pt x="68" y="24"/>
                    </a:cubicBezTo>
                    <a:cubicBezTo>
                      <a:pt x="73" y="19"/>
                      <a:pt x="84" y="9"/>
                      <a:pt x="85" y="7"/>
                    </a:cubicBezTo>
                    <a:cubicBezTo>
                      <a:pt x="86" y="5"/>
                      <a:pt x="93" y="1"/>
                      <a:pt x="92" y="6"/>
                    </a:cubicBezTo>
                    <a:cubicBezTo>
                      <a:pt x="91" y="10"/>
                      <a:pt x="89" y="14"/>
                      <a:pt x="85" y="19"/>
                    </a:cubicBezTo>
                    <a:cubicBezTo>
                      <a:pt x="82" y="24"/>
                      <a:pt x="75" y="33"/>
                      <a:pt x="67" y="32"/>
                    </a:cubicBezTo>
                    <a:cubicBezTo>
                      <a:pt x="58" y="32"/>
                      <a:pt x="36" y="35"/>
                      <a:pt x="28" y="32"/>
                    </a:cubicBezTo>
                    <a:cubicBezTo>
                      <a:pt x="19" y="3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81" name="Freeform 103">
                <a:extLst>
                  <a:ext uri="{FF2B5EF4-FFF2-40B4-BE49-F238E27FC236}">
                    <a16:creationId xmlns:a16="http://schemas.microsoft.com/office/drawing/2014/main" id="{C744E009-2933-43AD-9124-64F750163B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3697" y="1061826"/>
                <a:ext cx="226796" cy="66888"/>
              </a:xfrm>
              <a:custGeom>
                <a:avLst/>
                <a:gdLst>
                  <a:gd name="T0" fmla="*/ 9 w 49"/>
                  <a:gd name="T1" fmla="*/ 1 h 23"/>
                  <a:gd name="T2" fmla="*/ 24 w 49"/>
                  <a:gd name="T3" fmla="*/ 8 h 23"/>
                  <a:gd name="T4" fmla="*/ 31 w 49"/>
                  <a:gd name="T5" fmla="*/ 7 h 23"/>
                  <a:gd name="T6" fmla="*/ 44 w 49"/>
                  <a:gd name="T7" fmla="*/ 17 h 23"/>
                  <a:gd name="T8" fmla="*/ 37 w 49"/>
                  <a:gd name="T9" fmla="*/ 17 h 23"/>
                  <a:gd name="T10" fmla="*/ 13 w 49"/>
                  <a:gd name="T11" fmla="*/ 10 h 23"/>
                  <a:gd name="T12" fmla="*/ 9 w 49"/>
                  <a:gd name="T1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23">
                    <a:moveTo>
                      <a:pt x="9" y="1"/>
                    </a:moveTo>
                    <a:cubicBezTo>
                      <a:pt x="9" y="1"/>
                      <a:pt x="20" y="7"/>
                      <a:pt x="24" y="8"/>
                    </a:cubicBezTo>
                    <a:cubicBezTo>
                      <a:pt x="28" y="9"/>
                      <a:pt x="31" y="9"/>
                      <a:pt x="31" y="7"/>
                    </a:cubicBezTo>
                    <a:cubicBezTo>
                      <a:pt x="31" y="4"/>
                      <a:pt x="40" y="11"/>
                      <a:pt x="44" y="17"/>
                    </a:cubicBezTo>
                    <a:cubicBezTo>
                      <a:pt x="49" y="23"/>
                      <a:pt x="44" y="21"/>
                      <a:pt x="37" y="17"/>
                    </a:cubicBezTo>
                    <a:cubicBezTo>
                      <a:pt x="30" y="13"/>
                      <a:pt x="20" y="15"/>
                      <a:pt x="13" y="10"/>
                    </a:cubicBezTo>
                    <a:cubicBezTo>
                      <a:pt x="6" y="5"/>
                      <a:pt x="0" y="0"/>
                      <a:pt x="9" y="1"/>
                    </a:cubicBez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982" name="Freeform 104">
                <a:extLst>
                  <a:ext uri="{FF2B5EF4-FFF2-40B4-BE49-F238E27FC236}">
                    <a16:creationId xmlns:a16="http://schemas.microsoft.com/office/drawing/2014/main" id="{A15B483D-FF6D-409C-8877-B58F6021FF1E}"/>
                  </a:ext>
                </a:extLst>
              </p:cNvPr>
              <p:cNvSpPr>
                <a:spLocks/>
              </p:cNvSpPr>
              <p:nvPr/>
            </p:nvSpPr>
            <p:spPr bwMode="auto">
              <a:xfrm rot="18643239">
                <a:off x="3555600" y="1040771"/>
                <a:ext cx="87944" cy="175885"/>
              </a:xfrm>
              <a:custGeom>
                <a:avLst/>
                <a:gdLst>
                  <a:gd name="T0" fmla="*/ 12 w 30"/>
                  <a:gd name="T1" fmla="*/ 25 h 60"/>
                  <a:gd name="T2" fmla="*/ 20 w 30"/>
                  <a:gd name="T3" fmla="*/ 19 h 60"/>
                  <a:gd name="T4" fmla="*/ 22 w 30"/>
                  <a:gd name="T5" fmla="*/ 4 h 60"/>
                  <a:gd name="T6" fmla="*/ 24 w 30"/>
                  <a:gd name="T7" fmla="*/ 26 h 60"/>
                  <a:gd name="T8" fmla="*/ 21 w 30"/>
                  <a:gd name="T9" fmla="*/ 37 h 60"/>
                  <a:gd name="T10" fmla="*/ 14 w 30"/>
                  <a:gd name="T11" fmla="*/ 48 h 60"/>
                  <a:gd name="T12" fmla="*/ 8 w 30"/>
                  <a:gd name="T13" fmla="*/ 35 h 60"/>
                  <a:gd name="T14" fmla="*/ 12 w 30"/>
                  <a:gd name="T15" fmla="*/ 2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60">
                    <a:moveTo>
                      <a:pt x="12" y="25"/>
                    </a:moveTo>
                    <a:cubicBezTo>
                      <a:pt x="12" y="25"/>
                      <a:pt x="17" y="24"/>
                      <a:pt x="20" y="19"/>
                    </a:cubicBezTo>
                    <a:cubicBezTo>
                      <a:pt x="24" y="14"/>
                      <a:pt x="22" y="8"/>
                      <a:pt x="22" y="4"/>
                    </a:cubicBezTo>
                    <a:cubicBezTo>
                      <a:pt x="21" y="0"/>
                      <a:pt x="30" y="16"/>
                      <a:pt x="24" y="26"/>
                    </a:cubicBezTo>
                    <a:cubicBezTo>
                      <a:pt x="24" y="26"/>
                      <a:pt x="21" y="34"/>
                      <a:pt x="21" y="37"/>
                    </a:cubicBezTo>
                    <a:cubicBezTo>
                      <a:pt x="21" y="40"/>
                      <a:pt x="20" y="46"/>
                      <a:pt x="14" y="48"/>
                    </a:cubicBezTo>
                    <a:cubicBezTo>
                      <a:pt x="8" y="50"/>
                      <a:pt x="0" y="60"/>
                      <a:pt x="8" y="35"/>
                    </a:cubicBezTo>
                    <a:lnTo>
                      <a:pt x="12" y="25"/>
                    </a:lnTo>
                    <a:close/>
                  </a:path>
                </a:pathLst>
              </a:custGeom>
              <a:grpFill/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lIns="321064" tIns="160532" rIns="321064" bIns="160532"/>
              <a:lstStyle/>
              <a:p>
                <a:pPr defTabSz="321064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8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748" name="Groupe 747"/>
          <p:cNvGrpSpPr/>
          <p:nvPr/>
        </p:nvGrpSpPr>
        <p:grpSpPr>
          <a:xfrm>
            <a:off x="1016517" y="2640172"/>
            <a:ext cx="927556" cy="709298"/>
            <a:chOff x="3719180" y="170901"/>
            <a:chExt cx="1204912" cy="921391"/>
          </a:xfrm>
        </p:grpSpPr>
        <p:sp>
          <p:nvSpPr>
            <p:cNvPr id="751" name="Ellipse 750"/>
            <p:cNvSpPr/>
            <p:nvPr/>
          </p:nvSpPr>
          <p:spPr>
            <a:xfrm>
              <a:off x="3784157" y="170901"/>
              <a:ext cx="921391" cy="921391"/>
            </a:xfrm>
            <a:prstGeom prst="ellipse">
              <a:avLst/>
            </a:prstGeom>
            <a:solidFill>
              <a:srgbClr val="00CC9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752" name="Group 4">
              <a:extLst>
                <a:ext uri="{FF2B5EF4-FFF2-40B4-BE49-F238E27FC236}">
                  <a16:creationId xmlns:a16="http://schemas.microsoft.com/office/drawing/2014/main" id="{EA1F9D67-2EF1-4AE3-8C35-77B6A2A96208}"/>
                </a:ext>
              </a:extLst>
            </p:cNvPr>
            <p:cNvGrpSpPr/>
            <p:nvPr/>
          </p:nvGrpSpPr>
          <p:grpSpPr>
            <a:xfrm>
              <a:off x="3719180" y="208843"/>
              <a:ext cx="1204912" cy="773113"/>
              <a:chOff x="2356411" y="-135591"/>
              <a:chExt cx="7272337" cy="5332414"/>
            </a:xfrm>
          </p:grpSpPr>
          <p:sp>
            <p:nvSpPr>
              <p:cNvPr id="753" name="Freeform 36">
                <a:extLst>
                  <a:ext uri="{FF2B5EF4-FFF2-40B4-BE49-F238E27FC236}">
                    <a16:creationId xmlns:a16="http://schemas.microsoft.com/office/drawing/2014/main" id="{9367D0C2-CB03-4527-A108-59B2FE3E01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6061" y="4660247"/>
                <a:ext cx="309562" cy="317500"/>
              </a:xfrm>
              <a:custGeom>
                <a:avLst/>
                <a:gdLst>
                  <a:gd name="T0" fmla="*/ 97 w 124"/>
                  <a:gd name="T1" fmla="*/ 9 h 127"/>
                  <a:gd name="T2" fmla="*/ 123 w 124"/>
                  <a:gd name="T3" fmla="*/ 106 h 127"/>
                  <a:gd name="T4" fmla="*/ 29 w 124"/>
                  <a:gd name="T5" fmla="*/ 122 h 127"/>
                  <a:gd name="T6" fmla="*/ 8 w 124"/>
                  <a:gd name="T7" fmla="*/ 20 h 127"/>
                  <a:gd name="T8" fmla="*/ 97 w 124"/>
                  <a:gd name="T9" fmla="*/ 9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127">
                    <a:moveTo>
                      <a:pt x="97" y="9"/>
                    </a:moveTo>
                    <a:cubicBezTo>
                      <a:pt x="97" y="9"/>
                      <a:pt x="122" y="87"/>
                      <a:pt x="123" y="106"/>
                    </a:cubicBezTo>
                    <a:cubicBezTo>
                      <a:pt x="124" y="126"/>
                      <a:pt x="37" y="127"/>
                      <a:pt x="29" y="122"/>
                    </a:cubicBezTo>
                    <a:cubicBezTo>
                      <a:pt x="20" y="116"/>
                      <a:pt x="0" y="23"/>
                      <a:pt x="8" y="20"/>
                    </a:cubicBezTo>
                    <a:cubicBezTo>
                      <a:pt x="16" y="17"/>
                      <a:pt x="94" y="0"/>
                      <a:pt x="97" y="9"/>
                    </a:cubicBezTo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54" name="Freeform 37">
                <a:extLst>
                  <a:ext uri="{FF2B5EF4-FFF2-40B4-BE49-F238E27FC236}">
                    <a16:creationId xmlns:a16="http://schemas.microsoft.com/office/drawing/2014/main" id="{B074EC0C-D57E-4800-8629-BB7A91592B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7948" y="2879072"/>
                <a:ext cx="417512" cy="1898650"/>
              </a:xfrm>
              <a:custGeom>
                <a:avLst/>
                <a:gdLst>
                  <a:gd name="T0" fmla="*/ 71 w 167"/>
                  <a:gd name="T1" fmla="*/ 732 h 762"/>
                  <a:gd name="T2" fmla="*/ 127 w 167"/>
                  <a:gd name="T3" fmla="*/ 753 h 762"/>
                  <a:gd name="T4" fmla="*/ 167 w 167"/>
                  <a:gd name="T5" fmla="*/ 732 h 762"/>
                  <a:gd name="T6" fmla="*/ 119 w 167"/>
                  <a:gd name="T7" fmla="*/ 389 h 762"/>
                  <a:gd name="T8" fmla="*/ 128 w 167"/>
                  <a:gd name="T9" fmla="*/ 39 h 762"/>
                  <a:gd name="T10" fmla="*/ 0 w 167"/>
                  <a:gd name="T11" fmla="*/ 117 h 762"/>
                  <a:gd name="T12" fmla="*/ 71 w 167"/>
                  <a:gd name="T13" fmla="*/ 732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7" h="762">
                    <a:moveTo>
                      <a:pt x="71" y="732"/>
                    </a:moveTo>
                    <a:cubicBezTo>
                      <a:pt x="71" y="732"/>
                      <a:pt x="102" y="762"/>
                      <a:pt x="127" y="753"/>
                    </a:cubicBezTo>
                    <a:cubicBezTo>
                      <a:pt x="152" y="745"/>
                      <a:pt x="167" y="732"/>
                      <a:pt x="167" y="732"/>
                    </a:cubicBezTo>
                    <a:cubicBezTo>
                      <a:pt x="167" y="732"/>
                      <a:pt x="127" y="493"/>
                      <a:pt x="119" y="389"/>
                    </a:cubicBezTo>
                    <a:cubicBezTo>
                      <a:pt x="111" y="285"/>
                      <a:pt x="135" y="78"/>
                      <a:pt x="128" y="39"/>
                    </a:cubicBezTo>
                    <a:cubicBezTo>
                      <a:pt x="121" y="0"/>
                      <a:pt x="0" y="117"/>
                      <a:pt x="0" y="117"/>
                    </a:cubicBezTo>
                    <a:cubicBezTo>
                      <a:pt x="0" y="117"/>
                      <a:pt x="42" y="652"/>
                      <a:pt x="71" y="732"/>
                    </a:cubicBezTo>
                  </a:path>
                </a:pathLst>
              </a:custGeom>
              <a:solidFill>
                <a:srgbClr val="006C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55" name="Freeform 38">
                <a:extLst>
                  <a:ext uri="{FF2B5EF4-FFF2-40B4-BE49-F238E27FC236}">
                    <a16:creationId xmlns:a16="http://schemas.microsoft.com/office/drawing/2014/main" id="{97C78E28-12E9-4831-A88E-BA0405B92F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2673" y="4682472"/>
                <a:ext cx="542925" cy="349250"/>
              </a:xfrm>
              <a:custGeom>
                <a:avLst/>
                <a:gdLst>
                  <a:gd name="T0" fmla="*/ 126 w 218"/>
                  <a:gd name="T1" fmla="*/ 18 h 140"/>
                  <a:gd name="T2" fmla="*/ 83 w 218"/>
                  <a:gd name="T3" fmla="*/ 78 h 140"/>
                  <a:gd name="T4" fmla="*/ 12 w 218"/>
                  <a:gd name="T5" fmla="*/ 78 h 140"/>
                  <a:gd name="T6" fmla="*/ 3 w 218"/>
                  <a:gd name="T7" fmla="*/ 122 h 140"/>
                  <a:gd name="T8" fmla="*/ 119 w 218"/>
                  <a:gd name="T9" fmla="*/ 139 h 140"/>
                  <a:gd name="T10" fmla="*/ 215 w 218"/>
                  <a:gd name="T11" fmla="*/ 125 h 140"/>
                  <a:gd name="T12" fmla="*/ 196 w 218"/>
                  <a:gd name="T13" fmla="*/ 18 h 140"/>
                  <a:gd name="T14" fmla="*/ 126 w 218"/>
                  <a:gd name="T15" fmla="*/ 18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8" h="140">
                    <a:moveTo>
                      <a:pt x="126" y="18"/>
                    </a:moveTo>
                    <a:cubicBezTo>
                      <a:pt x="126" y="18"/>
                      <a:pt x="91" y="74"/>
                      <a:pt x="83" y="78"/>
                    </a:cubicBezTo>
                    <a:cubicBezTo>
                      <a:pt x="75" y="82"/>
                      <a:pt x="18" y="74"/>
                      <a:pt x="12" y="78"/>
                    </a:cubicBezTo>
                    <a:cubicBezTo>
                      <a:pt x="7" y="82"/>
                      <a:pt x="0" y="117"/>
                      <a:pt x="3" y="122"/>
                    </a:cubicBezTo>
                    <a:cubicBezTo>
                      <a:pt x="5" y="128"/>
                      <a:pt x="94" y="138"/>
                      <a:pt x="119" y="139"/>
                    </a:cubicBezTo>
                    <a:cubicBezTo>
                      <a:pt x="144" y="140"/>
                      <a:pt x="200" y="135"/>
                      <a:pt x="215" y="125"/>
                    </a:cubicBezTo>
                    <a:cubicBezTo>
                      <a:pt x="218" y="118"/>
                      <a:pt x="201" y="28"/>
                      <a:pt x="196" y="18"/>
                    </a:cubicBezTo>
                    <a:cubicBezTo>
                      <a:pt x="190" y="8"/>
                      <a:pt x="130" y="0"/>
                      <a:pt x="126" y="18"/>
                    </a:cubicBezTo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56" name="Freeform 39">
                <a:extLst>
                  <a:ext uri="{FF2B5EF4-FFF2-40B4-BE49-F238E27FC236}">
                    <a16:creationId xmlns:a16="http://schemas.microsoft.com/office/drawing/2014/main" id="{E1CAAEE8-1A8E-4C85-BA5F-D467779A07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1248" y="2871134"/>
                <a:ext cx="623887" cy="1941513"/>
              </a:xfrm>
              <a:custGeom>
                <a:avLst/>
                <a:gdLst>
                  <a:gd name="T0" fmla="*/ 0 w 250"/>
                  <a:gd name="T1" fmla="*/ 5 h 779"/>
                  <a:gd name="T2" fmla="*/ 22 w 250"/>
                  <a:gd name="T3" fmla="*/ 426 h 779"/>
                  <a:gd name="T4" fmla="*/ 88 w 250"/>
                  <a:gd name="T5" fmla="*/ 691 h 779"/>
                  <a:gd name="T6" fmla="*/ 88 w 250"/>
                  <a:gd name="T7" fmla="*/ 716 h 779"/>
                  <a:gd name="T8" fmla="*/ 110 w 250"/>
                  <a:gd name="T9" fmla="*/ 763 h 779"/>
                  <a:gd name="T10" fmla="*/ 196 w 250"/>
                  <a:gd name="T11" fmla="*/ 753 h 779"/>
                  <a:gd name="T12" fmla="*/ 167 w 250"/>
                  <a:gd name="T13" fmla="*/ 594 h 779"/>
                  <a:gd name="T14" fmla="*/ 132 w 250"/>
                  <a:gd name="T15" fmla="*/ 130 h 779"/>
                  <a:gd name="T16" fmla="*/ 229 w 250"/>
                  <a:gd name="T17" fmla="*/ 63 h 779"/>
                  <a:gd name="T18" fmla="*/ 248 w 250"/>
                  <a:gd name="T19" fmla="*/ 5 h 779"/>
                  <a:gd name="T20" fmla="*/ 0 w 250"/>
                  <a:gd name="T21" fmla="*/ 5 h 7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0" h="779">
                    <a:moveTo>
                      <a:pt x="0" y="5"/>
                    </a:moveTo>
                    <a:cubicBezTo>
                      <a:pt x="0" y="5"/>
                      <a:pt x="6" y="355"/>
                      <a:pt x="22" y="426"/>
                    </a:cubicBezTo>
                    <a:cubicBezTo>
                      <a:pt x="39" y="496"/>
                      <a:pt x="84" y="676"/>
                      <a:pt x="88" y="691"/>
                    </a:cubicBezTo>
                    <a:cubicBezTo>
                      <a:pt x="88" y="691"/>
                      <a:pt x="87" y="708"/>
                      <a:pt x="88" y="716"/>
                    </a:cubicBezTo>
                    <a:cubicBezTo>
                      <a:pt x="89" y="724"/>
                      <a:pt x="102" y="756"/>
                      <a:pt x="110" y="763"/>
                    </a:cubicBezTo>
                    <a:cubicBezTo>
                      <a:pt x="118" y="770"/>
                      <a:pt x="181" y="779"/>
                      <a:pt x="196" y="753"/>
                    </a:cubicBezTo>
                    <a:cubicBezTo>
                      <a:pt x="196" y="753"/>
                      <a:pt x="175" y="640"/>
                      <a:pt x="167" y="594"/>
                    </a:cubicBezTo>
                    <a:cubicBezTo>
                      <a:pt x="159" y="548"/>
                      <a:pt x="121" y="231"/>
                      <a:pt x="132" y="130"/>
                    </a:cubicBezTo>
                    <a:cubicBezTo>
                      <a:pt x="132" y="130"/>
                      <a:pt x="209" y="80"/>
                      <a:pt x="229" y="63"/>
                    </a:cubicBezTo>
                    <a:cubicBezTo>
                      <a:pt x="250" y="46"/>
                      <a:pt x="248" y="9"/>
                      <a:pt x="248" y="5"/>
                    </a:cubicBezTo>
                    <a:cubicBezTo>
                      <a:pt x="248" y="0"/>
                      <a:pt x="0" y="5"/>
                      <a:pt x="0" y="5"/>
                    </a:cubicBezTo>
                  </a:path>
                </a:pathLst>
              </a:custGeom>
              <a:solidFill>
                <a:srgbClr val="006C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57" name="Freeform 40">
                <a:extLst>
                  <a:ext uri="{FF2B5EF4-FFF2-40B4-BE49-F238E27FC236}">
                    <a16:creationId xmlns:a16="http://schemas.microsoft.com/office/drawing/2014/main" id="{24F70D70-590D-4AC8-94F0-0E2F64A5BE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0398" y="86659"/>
                <a:ext cx="558800" cy="284163"/>
              </a:xfrm>
              <a:custGeom>
                <a:avLst/>
                <a:gdLst>
                  <a:gd name="T0" fmla="*/ 7 w 224"/>
                  <a:gd name="T1" fmla="*/ 114 h 114"/>
                  <a:gd name="T2" fmla="*/ 0 w 224"/>
                  <a:gd name="T3" fmla="*/ 96 h 114"/>
                  <a:gd name="T4" fmla="*/ 35 w 224"/>
                  <a:gd name="T5" fmla="*/ 5 h 114"/>
                  <a:gd name="T6" fmla="*/ 136 w 224"/>
                  <a:gd name="T7" fmla="*/ 18 h 114"/>
                  <a:gd name="T8" fmla="*/ 220 w 224"/>
                  <a:gd name="T9" fmla="*/ 52 h 114"/>
                  <a:gd name="T10" fmla="*/ 7 w 224"/>
                  <a:gd name="T11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114">
                    <a:moveTo>
                      <a:pt x="7" y="114"/>
                    </a:moveTo>
                    <a:cubicBezTo>
                      <a:pt x="7" y="114"/>
                      <a:pt x="0" y="103"/>
                      <a:pt x="0" y="96"/>
                    </a:cubicBezTo>
                    <a:cubicBezTo>
                      <a:pt x="0" y="90"/>
                      <a:pt x="24" y="9"/>
                      <a:pt x="35" y="5"/>
                    </a:cubicBezTo>
                    <a:cubicBezTo>
                      <a:pt x="46" y="0"/>
                      <a:pt x="120" y="14"/>
                      <a:pt x="136" y="18"/>
                    </a:cubicBezTo>
                    <a:cubicBezTo>
                      <a:pt x="152" y="23"/>
                      <a:pt x="217" y="38"/>
                      <a:pt x="220" y="52"/>
                    </a:cubicBezTo>
                    <a:cubicBezTo>
                      <a:pt x="224" y="66"/>
                      <a:pt x="7" y="114"/>
                      <a:pt x="7" y="114"/>
                    </a:cubicBezTo>
                  </a:path>
                </a:pathLst>
              </a:custGeom>
              <a:solidFill>
                <a:srgbClr val="5C82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58" name="Freeform 41">
                <a:extLst>
                  <a:ext uri="{FF2B5EF4-FFF2-40B4-BE49-F238E27FC236}">
                    <a16:creationId xmlns:a16="http://schemas.microsoft.com/office/drawing/2014/main" id="{F6191FA6-34FE-4FA5-A734-69C5CB8FCC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2186" y="77134"/>
                <a:ext cx="214312" cy="112713"/>
              </a:xfrm>
              <a:custGeom>
                <a:avLst/>
                <a:gdLst>
                  <a:gd name="T0" fmla="*/ 86 w 86"/>
                  <a:gd name="T1" fmla="*/ 45 h 45"/>
                  <a:gd name="T2" fmla="*/ 63 w 86"/>
                  <a:gd name="T3" fmla="*/ 3 h 45"/>
                  <a:gd name="T4" fmla="*/ 0 w 86"/>
                  <a:gd name="T5" fmla="*/ 21 h 45"/>
                  <a:gd name="T6" fmla="*/ 86 w 86"/>
                  <a:gd name="T7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6" h="45">
                    <a:moveTo>
                      <a:pt x="86" y="45"/>
                    </a:moveTo>
                    <a:cubicBezTo>
                      <a:pt x="86" y="45"/>
                      <a:pt x="75" y="7"/>
                      <a:pt x="63" y="3"/>
                    </a:cubicBezTo>
                    <a:cubicBezTo>
                      <a:pt x="50" y="0"/>
                      <a:pt x="0" y="21"/>
                      <a:pt x="0" y="21"/>
                    </a:cubicBezTo>
                    <a:cubicBezTo>
                      <a:pt x="0" y="21"/>
                      <a:pt x="75" y="40"/>
                      <a:pt x="86" y="45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59" name="Freeform 42">
                <a:extLst>
                  <a:ext uri="{FF2B5EF4-FFF2-40B4-BE49-F238E27FC236}">
                    <a16:creationId xmlns:a16="http://schemas.microsoft.com/office/drawing/2014/main" id="{68213E28-61AB-4062-AEA2-9A1CF6065A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5511" y="85072"/>
                <a:ext cx="703262" cy="669925"/>
              </a:xfrm>
              <a:custGeom>
                <a:avLst/>
                <a:gdLst>
                  <a:gd name="T0" fmla="*/ 122 w 282"/>
                  <a:gd name="T1" fmla="*/ 160 h 269"/>
                  <a:gd name="T2" fmla="*/ 73 w 282"/>
                  <a:gd name="T3" fmla="*/ 175 h 269"/>
                  <a:gd name="T4" fmla="*/ 31 w 282"/>
                  <a:gd name="T5" fmla="*/ 161 h 269"/>
                  <a:gd name="T6" fmla="*/ 37 w 282"/>
                  <a:gd name="T7" fmla="*/ 143 h 269"/>
                  <a:gd name="T8" fmla="*/ 81 w 282"/>
                  <a:gd name="T9" fmla="*/ 147 h 269"/>
                  <a:gd name="T10" fmla="*/ 111 w 282"/>
                  <a:gd name="T11" fmla="*/ 57 h 269"/>
                  <a:gd name="T12" fmla="*/ 13 w 282"/>
                  <a:gd name="T13" fmla="*/ 21 h 269"/>
                  <a:gd name="T14" fmla="*/ 14 w 282"/>
                  <a:gd name="T15" fmla="*/ 0 h 269"/>
                  <a:gd name="T16" fmla="*/ 72 w 282"/>
                  <a:gd name="T17" fmla="*/ 15 h 269"/>
                  <a:gd name="T18" fmla="*/ 127 w 282"/>
                  <a:gd name="T19" fmla="*/ 31 h 269"/>
                  <a:gd name="T20" fmla="*/ 149 w 282"/>
                  <a:gd name="T21" fmla="*/ 115 h 269"/>
                  <a:gd name="T22" fmla="*/ 269 w 282"/>
                  <a:gd name="T23" fmla="*/ 226 h 269"/>
                  <a:gd name="T24" fmla="*/ 236 w 282"/>
                  <a:gd name="T25" fmla="*/ 269 h 269"/>
                  <a:gd name="T26" fmla="*/ 122 w 282"/>
                  <a:gd name="T27" fmla="*/ 160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2" h="269">
                    <a:moveTo>
                      <a:pt x="122" y="160"/>
                    </a:moveTo>
                    <a:cubicBezTo>
                      <a:pt x="122" y="160"/>
                      <a:pt x="91" y="175"/>
                      <a:pt x="73" y="175"/>
                    </a:cubicBezTo>
                    <a:cubicBezTo>
                      <a:pt x="55" y="175"/>
                      <a:pt x="43" y="161"/>
                      <a:pt x="31" y="161"/>
                    </a:cubicBezTo>
                    <a:cubicBezTo>
                      <a:pt x="18" y="161"/>
                      <a:pt x="24" y="140"/>
                      <a:pt x="37" y="143"/>
                    </a:cubicBezTo>
                    <a:cubicBezTo>
                      <a:pt x="49" y="145"/>
                      <a:pt x="72" y="151"/>
                      <a:pt x="81" y="147"/>
                    </a:cubicBezTo>
                    <a:cubicBezTo>
                      <a:pt x="89" y="143"/>
                      <a:pt x="113" y="71"/>
                      <a:pt x="111" y="57"/>
                    </a:cubicBezTo>
                    <a:cubicBezTo>
                      <a:pt x="110" y="43"/>
                      <a:pt x="25" y="29"/>
                      <a:pt x="13" y="21"/>
                    </a:cubicBezTo>
                    <a:cubicBezTo>
                      <a:pt x="0" y="13"/>
                      <a:pt x="14" y="0"/>
                      <a:pt x="14" y="0"/>
                    </a:cubicBezTo>
                    <a:cubicBezTo>
                      <a:pt x="14" y="0"/>
                      <a:pt x="60" y="14"/>
                      <a:pt x="72" y="15"/>
                    </a:cubicBezTo>
                    <a:cubicBezTo>
                      <a:pt x="85" y="17"/>
                      <a:pt x="116" y="17"/>
                      <a:pt x="127" y="31"/>
                    </a:cubicBezTo>
                    <a:cubicBezTo>
                      <a:pt x="138" y="44"/>
                      <a:pt x="149" y="115"/>
                      <a:pt x="149" y="115"/>
                    </a:cubicBezTo>
                    <a:cubicBezTo>
                      <a:pt x="149" y="115"/>
                      <a:pt x="257" y="203"/>
                      <a:pt x="269" y="226"/>
                    </a:cubicBezTo>
                    <a:cubicBezTo>
                      <a:pt x="282" y="250"/>
                      <a:pt x="236" y="269"/>
                      <a:pt x="236" y="269"/>
                    </a:cubicBezTo>
                    <a:cubicBezTo>
                      <a:pt x="236" y="269"/>
                      <a:pt x="132" y="153"/>
                      <a:pt x="122" y="160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60" name="Freeform 43">
                <a:extLst>
                  <a:ext uri="{FF2B5EF4-FFF2-40B4-BE49-F238E27FC236}">
                    <a16:creationId xmlns:a16="http://schemas.microsoft.com/office/drawing/2014/main" id="{0A828308-5AAF-4917-AE45-CE3BAB4B7C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3573" y="107297"/>
                <a:ext cx="550862" cy="349250"/>
              </a:xfrm>
              <a:custGeom>
                <a:avLst/>
                <a:gdLst>
                  <a:gd name="T0" fmla="*/ 126 w 221"/>
                  <a:gd name="T1" fmla="*/ 16 h 140"/>
                  <a:gd name="T2" fmla="*/ 38 w 221"/>
                  <a:gd name="T3" fmla="*/ 8 h 140"/>
                  <a:gd name="T4" fmla="*/ 6 w 221"/>
                  <a:gd name="T5" fmla="*/ 106 h 140"/>
                  <a:gd name="T6" fmla="*/ 181 w 221"/>
                  <a:gd name="T7" fmla="*/ 139 h 140"/>
                  <a:gd name="T8" fmla="*/ 219 w 221"/>
                  <a:gd name="T9" fmla="*/ 44 h 140"/>
                  <a:gd name="T10" fmla="*/ 126 w 221"/>
                  <a:gd name="T11" fmla="*/ 16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1" h="140">
                    <a:moveTo>
                      <a:pt x="126" y="16"/>
                    </a:moveTo>
                    <a:cubicBezTo>
                      <a:pt x="61" y="0"/>
                      <a:pt x="42" y="0"/>
                      <a:pt x="38" y="8"/>
                    </a:cubicBezTo>
                    <a:cubicBezTo>
                      <a:pt x="34" y="15"/>
                      <a:pt x="0" y="101"/>
                      <a:pt x="6" y="106"/>
                    </a:cubicBezTo>
                    <a:cubicBezTo>
                      <a:pt x="11" y="112"/>
                      <a:pt x="161" y="138"/>
                      <a:pt x="181" y="139"/>
                    </a:cubicBezTo>
                    <a:cubicBezTo>
                      <a:pt x="201" y="140"/>
                      <a:pt x="221" y="52"/>
                      <a:pt x="219" y="44"/>
                    </a:cubicBezTo>
                    <a:cubicBezTo>
                      <a:pt x="218" y="35"/>
                      <a:pt x="139" y="18"/>
                      <a:pt x="126" y="1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64" name="Freeform 44">
                <a:extLst>
                  <a:ext uri="{FF2B5EF4-FFF2-40B4-BE49-F238E27FC236}">
                    <a16:creationId xmlns:a16="http://schemas.microsoft.com/office/drawing/2014/main" id="{AE96E6BB-A810-4977-A4B0-C27DF2898D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5486" y="146984"/>
                <a:ext cx="376237" cy="250825"/>
              </a:xfrm>
              <a:custGeom>
                <a:avLst/>
                <a:gdLst>
                  <a:gd name="T0" fmla="*/ 98 w 151"/>
                  <a:gd name="T1" fmla="*/ 12 h 101"/>
                  <a:gd name="T2" fmla="*/ 30 w 151"/>
                  <a:gd name="T3" fmla="*/ 6 h 101"/>
                  <a:gd name="T4" fmla="*/ 5 w 151"/>
                  <a:gd name="T5" fmla="*/ 82 h 101"/>
                  <a:gd name="T6" fmla="*/ 120 w 151"/>
                  <a:gd name="T7" fmla="*/ 101 h 101"/>
                  <a:gd name="T8" fmla="*/ 150 w 151"/>
                  <a:gd name="T9" fmla="*/ 27 h 101"/>
                  <a:gd name="T10" fmla="*/ 98 w 151"/>
                  <a:gd name="T11" fmla="*/ 12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1" h="101">
                    <a:moveTo>
                      <a:pt x="98" y="12"/>
                    </a:moveTo>
                    <a:cubicBezTo>
                      <a:pt x="47" y="0"/>
                      <a:pt x="33" y="0"/>
                      <a:pt x="30" y="6"/>
                    </a:cubicBezTo>
                    <a:cubicBezTo>
                      <a:pt x="26" y="12"/>
                      <a:pt x="0" y="78"/>
                      <a:pt x="5" y="82"/>
                    </a:cubicBezTo>
                    <a:cubicBezTo>
                      <a:pt x="9" y="87"/>
                      <a:pt x="105" y="100"/>
                      <a:pt x="120" y="101"/>
                    </a:cubicBezTo>
                    <a:cubicBezTo>
                      <a:pt x="136" y="101"/>
                      <a:pt x="151" y="33"/>
                      <a:pt x="150" y="27"/>
                    </a:cubicBezTo>
                    <a:cubicBezTo>
                      <a:pt x="149" y="20"/>
                      <a:pt x="108" y="14"/>
                      <a:pt x="98" y="12"/>
                    </a:cubicBezTo>
                  </a:path>
                </a:pathLst>
              </a:custGeom>
              <a:solidFill>
                <a:srgbClr val="5C82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65" name="Oval 45">
                <a:extLst>
                  <a:ext uri="{FF2B5EF4-FFF2-40B4-BE49-F238E27FC236}">
                    <a16:creationId xmlns:a16="http://schemas.microsoft.com/office/drawing/2014/main" id="{A85988B8-6716-4CE9-B8FC-8959832815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6486" y="293034"/>
                <a:ext cx="52387" cy="52388"/>
              </a:xfrm>
              <a:prstGeom prst="ellipse">
                <a:avLst/>
              </a:pr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66" name="Freeform 46">
                <a:extLst>
                  <a:ext uri="{FF2B5EF4-FFF2-40B4-BE49-F238E27FC236}">
                    <a16:creationId xmlns:a16="http://schemas.microsoft.com/office/drawing/2014/main" id="{0323AAD3-EE77-484A-9716-4580AE11DB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7723" y="-135591"/>
                <a:ext cx="31750" cy="122238"/>
              </a:xfrm>
              <a:custGeom>
                <a:avLst/>
                <a:gdLst>
                  <a:gd name="T0" fmla="*/ 10 w 13"/>
                  <a:gd name="T1" fmla="*/ 5 h 49"/>
                  <a:gd name="T2" fmla="*/ 1 w 13"/>
                  <a:gd name="T3" fmla="*/ 7 h 49"/>
                  <a:gd name="T4" fmla="*/ 1 w 13"/>
                  <a:gd name="T5" fmla="*/ 43 h 49"/>
                  <a:gd name="T6" fmla="*/ 10 w 13"/>
                  <a:gd name="T7" fmla="*/ 44 h 49"/>
                  <a:gd name="T8" fmla="*/ 10 w 13"/>
                  <a:gd name="T9" fmla="*/ 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9">
                    <a:moveTo>
                      <a:pt x="10" y="5"/>
                    </a:moveTo>
                    <a:cubicBezTo>
                      <a:pt x="8" y="0"/>
                      <a:pt x="0" y="2"/>
                      <a:pt x="1" y="7"/>
                    </a:cubicBezTo>
                    <a:cubicBezTo>
                      <a:pt x="2" y="19"/>
                      <a:pt x="0" y="31"/>
                      <a:pt x="1" y="43"/>
                    </a:cubicBezTo>
                    <a:cubicBezTo>
                      <a:pt x="1" y="49"/>
                      <a:pt x="9" y="49"/>
                      <a:pt x="10" y="44"/>
                    </a:cubicBezTo>
                    <a:cubicBezTo>
                      <a:pt x="12" y="31"/>
                      <a:pt x="13" y="18"/>
                      <a:pt x="10" y="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67" name="Freeform 47">
                <a:extLst>
                  <a:ext uri="{FF2B5EF4-FFF2-40B4-BE49-F238E27FC236}">
                    <a16:creationId xmlns:a16="http://schemas.microsoft.com/office/drawing/2014/main" id="{6032A187-448C-4018-A6B1-4E9CB6D3CB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0086" y="-94316"/>
                <a:ext cx="52387" cy="101600"/>
              </a:xfrm>
              <a:custGeom>
                <a:avLst/>
                <a:gdLst>
                  <a:gd name="T0" fmla="*/ 19 w 21"/>
                  <a:gd name="T1" fmla="*/ 32 h 41"/>
                  <a:gd name="T2" fmla="*/ 9 w 21"/>
                  <a:gd name="T3" fmla="*/ 4 h 41"/>
                  <a:gd name="T4" fmla="*/ 2 w 21"/>
                  <a:gd name="T5" fmla="*/ 8 h 41"/>
                  <a:gd name="T6" fmla="*/ 11 w 21"/>
                  <a:gd name="T7" fmla="*/ 36 h 41"/>
                  <a:gd name="T8" fmla="*/ 19 w 21"/>
                  <a:gd name="T9" fmla="*/ 3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41">
                    <a:moveTo>
                      <a:pt x="19" y="32"/>
                    </a:moveTo>
                    <a:cubicBezTo>
                      <a:pt x="16" y="23"/>
                      <a:pt x="14" y="13"/>
                      <a:pt x="9" y="4"/>
                    </a:cubicBezTo>
                    <a:cubicBezTo>
                      <a:pt x="7" y="0"/>
                      <a:pt x="0" y="4"/>
                      <a:pt x="2" y="8"/>
                    </a:cubicBezTo>
                    <a:cubicBezTo>
                      <a:pt x="5" y="18"/>
                      <a:pt x="7" y="27"/>
                      <a:pt x="11" y="36"/>
                    </a:cubicBezTo>
                    <a:cubicBezTo>
                      <a:pt x="14" y="41"/>
                      <a:pt x="21" y="37"/>
                      <a:pt x="19" y="3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68" name="Freeform 48">
                <a:extLst>
                  <a:ext uri="{FF2B5EF4-FFF2-40B4-BE49-F238E27FC236}">
                    <a16:creationId xmlns:a16="http://schemas.microsoft.com/office/drawing/2014/main" id="{9256BC51-C18C-4391-BE7C-B46B5CEE0B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0386" y="7284"/>
                <a:ext cx="117475" cy="69850"/>
              </a:xfrm>
              <a:custGeom>
                <a:avLst/>
                <a:gdLst>
                  <a:gd name="T0" fmla="*/ 44 w 47"/>
                  <a:gd name="T1" fmla="*/ 18 h 28"/>
                  <a:gd name="T2" fmla="*/ 9 w 47"/>
                  <a:gd name="T3" fmla="*/ 2 h 28"/>
                  <a:gd name="T4" fmla="*/ 5 w 47"/>
                  <a:gd name="T5" fmla="*/ 10 h 28"/>
                  <a:gd name="T6" fmla="*/ 39 w 47"/>
                  <a:gd name="T7" fmla="*/ 27 h 28"/>
                  <a:gd name="T8" fmla="*/ 44 w 47"/>
                  <a:gd name="T9" fmla="*/ 1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28">
                    <a:moveTo>
                      <a:pt x="44" y="18"/>
                    </a:moveTo>
                    <a:cubicBezTo>
                      <a:pt x="33" y="11"/>
                      <a:pt x="21" y="6"/>
                      <a:pt x="9" y="2"/>
                    </a:cubicBezTo>
                    <a:cubicBezTo>
                      <a:pt x="3" y="0"/>
                      <a:pt x="0" y="7"/>
                      <a:pt x="5" y="10"/>
                    </a:cubicBezTo>
                    <a:cubicBezTo>
                      <a:pt x="16" y="17"/>
                      <a:pt x="27" y="23"/>
                      <a:pt x="39" y="27"/>
                    </a:cubicBezTo>
                    <a:cubicBezTo>
                      <a:pt x="44" y="28"/>
                      <a:pt x="47" y="21"/>
                      <a:pt x="44" y="1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69" name="Freeform 49">
                <a:extLst>
                  <a:ext uri="{FF2B5EF4-FFF2-40B4-BE49-F238E27FC236}">
                    <a16:creationId xmlns:a16="http://schemas.microsoft.com/office/drawing/2014/main" id="{966512C5-533C-4059-A02B-CA63A0591A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6411" y="134284"/>
                <a:ext cx="114300" cy="38100"/>
              </a:xfrm>
              <a:custGeom>
                <a:avLst/>
                <a:gdLst>
                  <a:gd name="T0" fmla="*/ 41 w 46"/>
                  <a:gd name="T1" fmla="*/ 4 h 15"/>
                  <a:gd name="T2" fmla="*/ 24 w 46"/>
                  <a:gd name="T3" fmla="*/ 1 h 15"/>
                  <a:gd name="T4" fmla="*/ 6 w 46"/>
                  <a:gd name="T5" fmla="*/ 0 h 15"/>
                  <a:gd name="T6" fmla="*/ 6 w 46"/>
                  <a:gd name="T7" fmla="*/ 9 h 15"/>
                  <a:gd name="T8" fmla="*/ 40 w 46"/>
                  <a:gd name="T9" fmla="*/ 13 h 15"/>
                  <a:gd name="T10" fmla="*/ 41 w 46"/>
                  <a:gd name="T11" fmla="*/ 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15">
                    <a:moveTo>
                      <a:pt x="41" y="4"/>
                    </a:moveTo>
                    <a:cubicBezTo>
                      <a:pt x="35" y="2"/>
                      <a:pt x="29" y="2"/>
                      <a:pt x="24" y="1"/>
                    </a:cubicBezTo>
                    <a:cubicBezTo>
                      <a:pt x="18" y="1"/>
                      <a:pt x="12" y="0"/>
                      <a:pt x="6" y="0"/>
                    </a:cubicBezTo>
                    <a:cubicBezTo>
                      <a:pt x="0" y="0"/>
                      <a:pt x="1" y="8"/>
                      <a:pt x="6" y="9"/>
                    </a:cubicBezTo>
                    <a:cubicBezTo>
                      <a:pt x="16" y="11"/>
                      <a:pt x="29" y="15"/>
                      <a:pt x="40" y="13"/>
                    </a:cubicBezTo>
                    <a:cubicBezTo>
                      <a:pt x="45" y="12"/>
                      <a:pt x="46" y="5"/>
                      <a:pt x="41" y="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70" name="Freeform 50">
                <a:extLst>
                  <a:ext uri="{FF2B5EF4-FFF2-40B4-BE49-F238E27FC236}">
                    <a16:creationId xmlns:a16="http://schemas.microsoft.com/office/drawing/2014/main" id="{DEC26128-8E2E-4C83-8C8C-617F553521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7798" y="597834"/>
                <a:ext cx="265112" cy="315913"/>
              </a:xfrm>
              <a:custGeom>
                <a:avLst/>
                <a:gdLst>
                  <a:gd name="T0" fmla="*/ 0 w 106"/>
                  <a:gd name="T1" fmla="*/ 52 h 127"/>
                  <a:gd name="T2" fmla="*/ 60 w 106"/>
                  <a:gd name="T3" fmla="*/ 0 h 127"/>
                  <a:gd name="T4" fmla="*/ 106 w 106"/>
                  <a:gd name="T5" fmla="*/ 77 h 127"/>
                  <a:gd name="T6" fmla="*/ 44 w 106"/>
                  <a:gd name="T7" fmla="*/ 124 h 127"/>
                  <a:gd name="T8" fmla="*/ 0 w 106"/>
                  <a:gd name="T9" fmla="*/ 52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27">
                    <a:moveTo>
                      <a:pt x="0" y="52"/>
                    </a:moveTo>
                    <a:cubicBezTo>
                      <a:pt x="0" y="52"/>
                      <a:pt x="20" y="0"/>
                      <a:pt x="60" y="0"/>
                    </a:cubicBezTo>
                    <a:cubicBezTo>
                      <a:pt x="60" y="0"/>
                      <a:pt x="98" y="58"/>
                      <a:pt x="106" y="77"/>
                    </a:cubicBezTo>
                    <a:cubicBezTo>
                      <a:pt x="106" y="77"/>
                      <a:pt x="66" y="127"/>
                      <a:pt x="44" y="124"/>
                    </a:cubicBezTo>
                    <a:cubicBezTo>
                      <a:pt x="44" y="124"/>
                      <a:pt x="8" y="70"/>
                      <a:pt x="0" y="52"/>
                    </a:cubicBezTo>
                  </a:path>
                </a:pathLst>
              </a:custGeom>
              <a:solidFill>
                <a:srgbClr val="C39E0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71" name="Freeform 51">
                <a:extLst>
                  <a:ext uri="{FF2B5EF4-FFF2-40B4-BE49-F238E27FC236}">
                    <a16:creationId xmlns:a16="http://schemas.microsoft.com/office/drawing/2014/main" id="{51F32DCD-B25A-47FC-9618-849AED85FF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1148" y="775634"/>
                <a:ext cx="438150" cy="1063625"/>
              </a:xfrm>
              <a:custGeom>
                <a:avLst/>
                <a:gdLst>
                  <a:gd name="T0" fmla="*/ 46 w 176"/>
                  <a:gd name="T1" fmla="*/ 7 h 427"/>
                  <a:gd name="T2" fmla="*/ 124 w 176"/>
                  <a:gd name="T3" fmla="*/ 165 h 427"/>
                  <a:gd name="T4" fmla="*/ 172 w 176"/>
                  <a:gd name="T5" fmla="*/ 384 h 427"/>
                  <a:gd name="T6" fmla="*/ 105 w 176"/>
                  <a:gd name="T7" fmla="*/ 384 h 427"/>
                  <a:gd name="T8" fmla="*/ 0 w 176"/>
                  <a:gd name="T9" fmla="*/ 47 h 427"/>
                  <a:gd name="T10" fmla="*/ 46 w 176"/>
                  <a:gd name="T11" fmla="*/ 7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6" h="427">
                    <a:moveTo>
                      <a:pt x="46" y="7"/>
                    </a:moveTo>
                    <a:cubicBezTo>
                      <a:pt x="46" y="7"/>
                      <a:pt x="101" y="120"/>
                      <a:pt x="124" y="165"/>
                    </a:cubicBezTo>
                    <a:cubicBezTo>
                      <a:pt x="147" y="210"/>
                      <a:pt x="168" y="341"/>
                      <a:pt x="172" y="384"/>
                    </a:cubicBezTo>
                    <a:cubicBezTo>
                      <a:pt x="176" y="427"/>
                      <a:pt x="102" y="402"/>
                      <a:pt x="105" y="384"/>
                    </a:cubicBezTo>
                    <a:cubicBezTo>
                      <a:pt x="108" y="367"/>
                      <a:pt x="51" y="140"/>
                      <a:pt x="0" y="47"/>
                    </a:cubicBezTo>
                    <a:cubicBezTo>
                      <a:pt x="0" y="47"/>
                      <a:pt x="23" y="0"/>
                      <a:pt x="46" y="7"/>
                    </a:cubicBezTo>
                  </a:path>
                </a:pathLst>
              </a:custGeom>
              <a:solidFill>
                <a:srgbClr val="E4B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72" name="Freeform 52">
                <a:extLst>
                  <a:ext uri="{FF2B5EF4-FFF2-40B4-BE49-F238E27FC236}">
                    <a16:creationId xmlns:a16="http://schemas.microsoft.com/office/drawing/2014/main" id="{1EBF7529-47D2-4251-A979-75E9A310FC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136" y="1383647"/>
                <a:ext cx="195262" cy="277813"/>
              </a:xfrm>
              <a:custGeom>
                <a:avLst/>
                <a:gdLst>
                  <a:gd name="T0" fmla="*/ 12 w 78"/>
                  <a:gd name="T1" fmla="*/ 37 h 112"/>
                  <a:gd name="T2" fmla="*/ 2 w 78"/>
                  <a:gd name="T3" fmla="*/ 91 h 112"/>
                  <a:gd name="T4" fmla="*/ 62 w 78"/>
                  <a:gd name="T5" fmla="*/ 106 h 112"/>
                  <a:gd name="T6" fmla="*/ 74 w 78"/>
                  <a:gd name="T7" fmla="*/ 54 h 112"/>
                  <a:gd name="T8" fmla="*/ 51 w 78"/>
                  <a:gd name="T9" fmla="*/ 3 h 112"/>
                  <a:gd name="T10" fmla="*/ 12 w 78"/>
                  <a:gd name="T11" fmla="*/ 3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8" h="112">
                    <a:moveTo>
                      <a:pt x="12" y="37"/>
                    </a:moveTo>
                    <a:cubicBezTo>
                      <a:pt x="12" y="37"/>
                      <a:pt x="0" y="84"/>
                      <a:pt x="2" y="91"/>
                    </a:cubicBezTo>
                    <a:cubicBezTo>
                      <a:pt x="4" y="98"/>
                      <a:pt x="60" y="112"/>
                      <a:pt x="62" y="106"/>
                    </a:cubicBezTo>
                    <a:cubicBezTo>
                      <a:pt x="64" y="99"/>
                      <a:pt x="69" y="65"/>
                      <a:pt x="74" y="54"/>
                    </a:cubicBezTo>
                    <a:cubicBezTo>
                      <a:pt x="78" y="42"/>
                      <a:pt x="62" y="5"/>
                      <a:pt x="51" y="3"/>
                    </a:cubicBezTo>
                    <a:cubicBezTo>
                      <a:pt x="40" y="0"/>
                      <a:pt x="12" y="37"/>
                      <a:pt x="12" y="37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73" name="Freeform 53">
                <a:extLst>
                  <a:ext uri="{FF2B5EF4-FFF2-40B4-BE49-F238E27FC236}">
                    <a16:creationId xmlns:a16="http://schemas.microsoft.com/office/drawing/2014/main" id="{A5671343-533C-49C8-9825-AD76D09AA4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9923" y="1650347"/>
                <a:ext cx="1414462" cy="1417638"/>
              </a:xfrm>
              <a:custGeom>
                <a:avLst/>
                <a:gdLst>
                  <a:gd name="T0" fmla="*/ 443 w 567"/>
                  <a:gd name="T1" fmla="*/ 516 h 569"/>
                  <a:gd name="T2" fmla="*/ 472 w 567"/>
                  <a:gd name="T3" fmla="*/ 288 h 569"/>
                  <a:gd name="T4" fmla="*/ 538 w 567"/>
                  <a:gd name="T5" fmla="*/ 6 h 569"/>
                  <a:gd name="T6" fmla="*/ 484 w 567"/>
                  <a:gd name="T7" fmla="*/ 6 h 569"/>
                  <a:gd name="T8" fmla="*/ 399 w 567"/>
                  <a:gd name="T9" fmla="*/ 10 h 569"/>
                  <a:gd name="T10" fmla="*/ 331 w 567"/>
                  <a:gd name="T11" fmla="*/ 17 h 569"/>
                  <a:gd name="T12" fmla="*/ 175 w 567"/>
                  <a:gd name="T13" fmla="*/ 100 h 569"/>
                  <a:gd name="T14" fmla="*/ 67 w 567"/>
                  <a:gd name="T15" fmla="*/ 55 h 569"/>
                  <a:gd name="T16" fmla="*/ 2 w 567"/>
                  <a:gd name="T17" fmla="*/ 56 h 569"/>
                  <a:gd name="T18" fmla="*/ 82 w 567"/>
                  <a:gd name="T19" fmla="*/ 162 h 569"/>
                  <a:gd name="T20" fmla="*/ 252 w 567"/>
                  <a:gd name="T21" fmla="*/ 171 h 569"/>
                  <a:gd name="T22" fmla="*/ 164 w 567"/>
                  <a:gd name="T23" fmla="*/ 533 h 569"/>
                  <a:gd name="T24" fmla="*/ 443 w 567"/>
                  <a:gd name="T25" fmla="*/ 516 h 5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67" h="569">
                    <a:moveTo>
                      <a:pt x="443" y="516"/>
                    </a:moveTo>
                    <a:cubicBezTo>
                      <a:pt x="443" y="516"/>
                      <a:pt x="441" y="395"/>
                      <a:pt x="472" y="288"/>
                    </a:cubicBezTo>
                    <a:cubicBezTo>
                      <a:pt x="504" y="180"/>
                      <a:pt x="567" y="56"/>
                      <a:pt x="538" y="6"/>
                    </a:cubicBezTo>
                    <a:cubicBezTo>
                      <a:pt x="538" y="6"/>
                      <a:pt x="514" y="0"/>
                      <a:pt x="484" y="6"/>
                    </a:cubicBezTo>
                    <a:cubicBezTo>
                      <a:pt x="454" y="13"/>
                      <a:pt x="399" y="10"/>
                      <a:pt x="399" y="10"/>
                    </a:cubicBezTo>
                    <a:cubicBezTo>
                      <a:pt x="399" y="10"/>
                      <a:pt x="344" y="14"/>
                      <a:pt x="331" y="17"/>
                    </a:cubicBezTo>
                    <a:cubicBezTo>
                      <a:pt x="317" y="20"/>
                      <a:pt x="229" y="91"/>
                      <a:pt x="175" y="100"/>
                    </a:cubicBezTo>
                    <a:cubicBezTo>
                      <a:pt x="120" y="110"/>
                      <a:pt x="79" y="76"/>
                      <a:pt x="67" y="55"/>
                    </a:cubicBezTo>
                    <a:cubicBezTo>
                      <a:pt x="56" y="35"/>
                      <a:pt x="4" y="37"/>
                      <a:pt x="2" y="56"/>
                    </a:cubicBezTo>
                    <a:cubicBezTo>
                      <a:pt x="0" y="75"/>
                      <a:pt x="17" y="128"/>
                      <a:pt x="82" y="162"/>
                    </a:cubicBezTo>
                    <a:cubicBezTo>
                      <a:pt x="146" y="195"/>
                      <a:pt x="252" y="171"/>
                      <a:pt x="252" y="171"/>
                    </a:cubicBezTo>
                    <a:cubicBezTo>
                      <a:pt x="252" y="171"/>
                      <a:pt x="144" y="348"/>
                      <a:pt x="164" y="533"/>
                    </a:cubicBezTo>
                    <a:cubicBezTo>
                      <a:pt x="164" y="533"/>
                      <a:pt x="312" y="569"/>
                      <a:pt x="443" y="516"/>
                    </a:cubicBezTo>
                  </a:path>
                </a:pathLst>
              </a:custGeom>
              <a:solidFill>
                <a:srgbClr val="FFC8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74" name="Freeform 54">
                <a:extLst>
                  <a:ext uri="{FF2B5EF4-FFF2-40B4-BE49-F238E27FC236}">
                    <a16:creationId xmlns:a16="http://schemas.microsoft.com/office/drawing/2014/main" id="{EC9F7846-A859-4F3B-8758-DE4B116D85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2898" y="1594784"/>
                <a:ext cx="346075" cy="144463"/>
              </a:xfrm>
              <a:custGeom>
                <a:avLst/>
                <a:gdLst>
                  <a:gd name="T0" fmla="*/ 0 w 139"/>
                  <a:gd name="T1" fmla="*/ 33 h 58"/>
                  <a:gd name="T2" fmla="*/ 13 w 139"/>
                  <a:gd name="T3" fmla="*/ 2 h 58"/>
                  <a:gd name="T4" fmla="*/ 135 w 139"/>
                  <a:gd name="T5" fmla="*/ 2 h 58"/>
                  <a:gd name="T6" fmla="*/ 135 w 139"/>
                  <a:gd name="T7" fmla="*/ 30 h 58"/>
                  <a:gd name="T8" fmla="*/ 0 w 139"/>
                  <a:gd name="T9" fmla="*/ 33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9" h="58">
                    <a:moveTo>
                      <a:pt x="0" y="33"/>
                    </a:moveTo>
                    <a:cubicBezTo>
                      <a:pt x="0" y="33"/>
                      <a:pt x="8" y="4"/>
                      <a:pt x="13" y="2"/>
                    </a:cubicBezTo>
                    <a:cubicBezTo>
                      <a:pt x="17" y="0"/>
                      <a:pt x="108" y="12"/>
                      <a:pt x="135" y="2"/>
                    </a:cubicBezTo>
                    <a:cubicBezTo>
                      <a:pt x="135" y="2"/>
                      <a:pt x="139" y="17"/>
                      <a:pt x="135" y="30"/>
                    </a:cubicBezTo>
                    <a:cubicBezTo>
                      <a:pt x="135" y="30"/>
                      <a:pt x="103" y="58"/>
                      <a:pt x="0" y="33"/>
                    </a:cubicBezTo>
                  </a:path>
                </a:pathLst>
              </a:custGeom>
              <a:solidFill>
                <a:srgbClr val="C39E0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75" name="Freeform 55">
                <a:extLst>
                  <a:ext uri="{FF2B5EF4-FFF2-40B4-BE49-F238E27FC236}">
                    <a16:creationId xmlns:a16="http://schemas.microsoft.com/office/drawing/2014/main" id="{92A53F40-DFDA-4799-94A3-AAD54B6C2D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0711" y="750234"/>
                <a:ext cx="419100" cy="931863"/>
              </a:xfrm>
              <a:custGeom>
                <a:avLst/>
                <a:gdLst>
                  <a:gd name="T0" fmla="*/ 0 w 168"/>
                  <a:gd name="T1" fmla="*/ 322 h 374"/>
                  <a:gd name="T2" fmla="*/ 37 w 168"/>
                  <a:gd name="T3" fmla="*/ 187 h 374"/>
                  <a:gd name="T4" fmla="*/ 37 w 168"/>
                  <a:gd name="T5" fmla="*/ 98 h 374"/>
                  <a:gd name="T6" fmla="*/ 68 w 168"/>
                  <a:gd name="T7" fmla="*/ 97 h 374"/>
                  <a:gd name="T8" fmla="*/ 82 w 168"/>
                  <a:gd name="T9" fmla="*/ 2 h 374"/>
                  <a:gd name="T10" fmla="*/ 102 w 168"/>
                  <a:gd name="T11" fmla="*/ 25 h 374"/>
                  <a:gd name="T12" fmla="*/ 102 w 168"/>
                  <a:gd name="T13" fmla="*/ 102 h 374"/>
                  <a:gd name="T14" fmla="*/ 142 w 168"/>
                  <a:gd name="T15" fmla="*/ 14 h 374"/>
                  <a:gd name="T16" fmla="*/ 161 w 168"/>
                  <a:gd name="T17" fmla="*/ 31 h 374"/>
                  <a:gd name="T18" fmla="*/ 133 w 168"/>
                  <a:gd name="T19" fmla="*/ 121 h 374"/>
                  <a:gd name="T20" fmla="*/ 141 w 168"/>
                  <a:gd name="T21" fmla="*/ 147 h 374"/>
                  <a:gd name="T22" fmla="*/ 166 w 168"/>
                  <a:gd name="T23" fmla="*/ 151 h 374"/>
                  <a:gd name="T24" fmla="*/ 132 w 168"/>
                  <a:gd name="T25" fmla="*/ 182 h 374"/>
                  <a:gd name="T26" fmla="*/ 83 w 168"/>
                  <a:gd name="T27" fmla="*/ 199 h 374"/>
                  <a:gd name="T28" fmla="*/ 59 w 168"/>
                  <a:gd name="T29" fmla="*/ 329 h 374"/>
                  <a:gd name="T30" fmla="*/ 0 w 168"/>
                  <a:gd name="T31" fmla="*/ 322 h 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8" h="374">
                    <a:moveTo>
                      <a:pt x="0" y="322"/>
                    </a:moveTo>
                    <a:cubicBezTo>
                      <a:pt x="0" y="322"/>
                      <a:pt x="14" y="231"/>
                      <a:pt x="37" y="187"/>
                    </a:cubicBezTo>
                    <a:cubicBezTo>
                      <a:pt x="37" y="187"/>
                      <a:pt x="27" y="108"/>
                      <a:pt x="37" y="98"/>
                    </a:cubicBezTo>
                    <a:cubicBezTo>
                      <a:pt x="46" y="89"/>
                      <a:pt x="66" y="94"/>
                      <a:pt x="68" y="97"/>
                    </a:cubicBezTo>
                    <a:cubicBezTo>
                      <a:pt x="68" y="97"/>
                      <a:pt x="75" y="4"/>
                      <a:pt x="82" y="2"/>
                    </a:cubicBezTo>
                    <a:cubicBezTo>
                      <a:pt x="89" y="0"/>
                      <a:pt x="105" y="5"/>
                      <a:pt x="102" y="25"/>
                    </a:cubicBezTo>
                    <a:cubicBezTo>
                      <a:pt x="99" y="45"/>
                      <a:pt x="100" y="98"/>
                      <a:pt x="102" y="102"/>
                    </a:cubicBezTo>
                    <a:cubicBezTo>
                      <a:pt x="104" y="106"/>
                      <a:pt x="134" y="16"/>
                      <a:pt x="142" y="14"/>
                    </a:cubicBezTo>
                    <a:cubicBezTo>
                      <a:pt x="151" y="12"/>
                      <a:pt x="165" y="21"/>
                      <a:pt x="161" y="31"/>
                    </a:cubicBezTo>
                    <a:cubicBezTo>
                      <a:pt x="157" y="42"/>
                      <a:pt x="133" y="111"/>
                      <a:pt x="133" y="121"/>
                    </a:cubicBezTo>
                    <a:cubicBezTo>
                      <a:pt x="133" y="131"/>
                      <a:pt x="137" y="144"/>
                      <a:pt x="141" y="147"/>
                    </a:cubicBezTo>
                    <a:cubicBezTo>
                      <a:pt x="145" y="150"/>
                      <a:pt x="164" y="145"/>
                      <a:pt x="166" y="151"/>
                    </a:cubicBezTo>
                    <a:cubicBezTo>
                      <a:pt x="168" y="157"/>
                      <a:pt x="160" y="172"/>
                      <a:pt x="132" y="182"/>
                    </a:cubicBezTo>
                    <a:cubicBezTo>
                      <a:pt x="104" y="193"/>
                      <a:pt x="83" y="199"/>
                      <a:pt x="83" y="199"/>
                    </a:cubicBezTo>
                    <a:cubicBezTo>
                      <a:pt x="83" y="199"/>
                      <a:pt x="53" y="285"/>
                      <a:pt x="59" y="329"/>
                    </a:cubicBezTo>
                    <a:cubicBezTo>
                      <a:pt x="65" y="374"/>
                      <a:pt x="10" y="323"/>
                      <a:pt x="0" y="322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76" name="Freeform 56">
                <a:extLst>
                  <a:ext uri="{FF2B5EF4-FFF2-40B4-BE49-F238E27FC236}">
                    <a16:creationId xmlns:a16="http://schemas.microsoft.com/office/drawing/2014/main" id="{7B7E9A73-61D0-4804-B7D6-C5C6E9BC00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8323" y="1502709"/>
                <a:ext cx="284162" cy="341313"/>
              </a:xfrm>
              <a:custGeom>
                <a:avLst/>
                <a:gdLst>
                  <a:gd name="T0" fmla="*/ 73 w 114"/>
                  <a:gd name="T1" fmla="*/ 125 h 137"/>
                  <a:gd name="T2" fmla="*/ 24 w 114"/>
                  <a:gd name="T3" fmla="*/ 137 h 137"/>
                  <a:gd name="T4" fmla="*/ 1 w 114"/>
                  <a:gd name="T5" fmla="*/ 16 h 137"/>
                  <a:gd name="T6" fmla="*/ 83 w 114"/>
                  <a:gd name="T7" fmla="*/ 16 h 137"/>
                  <a:gd name="T8" fmla="*/ 114 w 114"/>
                  <a:gd name="T9" fmla="*/ 105 h 137"/>
                  <a:gd name="T10" fmla="*/ 73 w 114"/>
                  <a:gd name="T11" fmla="*/ 125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4" h="137">
                    <a:moveTo>
                      <a:pt x="73" y="125"/>
                    </a:moveTo>
                    <a:cubicBezTo>
                      <a:pt x="48" y="133"/>
                      <a:pt x="35" y="137"/>
                      <a:pt x="24" y="137"/>
                    </a:cubicBezTo>
                    <a:cubicBezTo>
                      <a:pt x="12" y="137"/>
                      <a:pt x="0" y="32"/>
                      <a:pt x="1" y="16"/>
                    </a:cubicBezTo>
                    <a:cubicBezTo>
                      <a:pt x="2" y="0"/>
                      <a:pt x="72" y="12"/>
                      <a:pt x="83" y="16"/>
                    </a:cubicBezTo>
                    <a:cubicBezTo>
                      <a:pt x="95" y="20"/>
                      <a:pt x="104" y="87"/>
                      <a:pt x="114" y="105"/>
                    </a:cubicBezTo>
                    <a:cubicBezTo>
                      <a:pt x="114" y="105"/>
                      <a:pt x="98" y="118"/>
                      <a:pt x="73" y="125"/>
                    </a:cubicBezTo>
                  </a:path>
                </a:pathLst>
              </a:custGeom>
              <a:solidFill>
                <a:srgbClr val="C39E0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77" name="Freeform 57">
                <a:extLst>
                  <a:ext uri="{FF2B5EF4-FFF2-40B4-BE49-F238E27FC236}">
                    <a16:creationId xmlns:a16="http://schemas.microsoft.com/office/drawing/2014/main" id="{92F09D50-16F6-4966-932D-74278CE4D1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7823" y="1256647"/>
                <a:ext cx="147637" cy="153988"/>
              </a:xfrm>
              <a:custGeom>
                <a:avLst/>
                <a:gdLst>
                  <a:gd name="T0" fmla="*/ 0 w 59"/>
                  <a:gd name="T1" fmla="*/ 57 h 62"/>
                  <a:gd name="T2" fmla="*/ 24 w 59"/>
                  <a:gd name="T3" fmla="*/ 10 h 62"/>
                  <a:gd name="T4" fmla="*/ 59 w 59"/>
                  <a:gd name="T5" fmla="*/ 10 h 62"/>
                  <a:gd name="T6" fmla="*/ 0 w 59"/>
                  <a:gd name="T7" fmla="*/ 57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9" h="62">
                    <a:moveTo>
                      <a:pt x="0" y="57"/>
                    </a:moveTo>
                    <a:cubicBezTo>
                      <a:pt x="0" y="57"/>
                      <a:pt x="2" y="20"/>
                      <a:pt x="24" y="10"/>
                    </a:cubicBezTo>
                    <a:cubicBezTo>
                      <a:pt x="46" y="0"/>
                      <a:pt x="59" y="10"/>
                      <a:pt x="59" y="10"/>
                    </a:cubicBezTo>
                    <a:cubicBezTo>
                      <a:pt x="59" y="10"/>
                      <a:pt x="22" y="62"/>
                      <a:pt x="0" y="57"/>
                    </a:cubicBezTo>
                  </a:path>
                </a:pathLst>
              </a:custGeom>
              <a:solidFill>
                <a:srgbClr val="D893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78" name="Freeform 58">
                <a:extLst>
                  <a:ext uri="{FF2B5EF4-FFF2-40B4-BE49-F238E27FC236}">
                    <a16:creationId xmlns:a16="http://schemas.microsoft.com/office/drawing/2014/main" id="{61E393EB-3BBD-4C75-8BB4-7B82892791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5273" y="751822"/>
                <a:ext cx="520700" cy="758825"/>
              </a:xfrm>
              <a:custGeom>
                <a:avLst/>
                <a:gdLst>
                  <a:gd name="T0" fmla="*/ 120 w 209"/>
                  <a:gd name="T1" fmla="*/ 26 h 304"/>
                  <a:gd name="T2" fmla="*/ 56 w 209"/>
                  <a:gd name="T3" fmla="*/ 124 h 304"/>
                  <a:gd name="T4" fmla="*/ 37 w 209"/>
                  <a:gd name="T5" fmla="*/ 124 h 304"/>
                  <a:gd name="T6" fmla="*/ 14 w 209"/>
                  <a:gd name="T7" fmla="*/ 142 h 304"/>
                  <a:gd name="T8" fmla="*/ 42 w 209"/>
                  <a:gd name="T9" fmla="*/ 166 h 304"/>
                  <a:gd name="T10" fmla="*/ 25 w 209"/>
                  <a:gd name="T11" fmla="*/ 195 h 304"/>
                  <a:gd name="T12" fmla="*/ 95 w 209"/>
                  <a:gd name="T13" fmla="*/ 195 h 304"/>
                  <a:gd name="T14" fmla="*/ 12 w 209"/>
                  <a:gd name="T15" fmla="*/ 248 h 304"/>
                  <a:gd name="T16" fmla="*/ 3 w 209"/>
                  <a:gd name="T17" fmla="*/ 286 h 304"/>
                  <a:gd name="T18" fmla="*/ 92 w 209"/>
                  <a:gd name="T19" fmla="*/ 294 h 304"/>
                  <a:gd name="T20" fmla="*/ 155 w 209"/>
                  <a:gd name="T21" fmla="*/ 202 h 304"/>
                  <a:gd name="T22" fmla="*/ 202 w 209"/>
                  <a:gd name="T23" fmla="*/ 125 h 304"/>
                  <a:gd name="T24" fmla="*/ 120 w 209"/>
                  <a:gd name="T25" fmla="*/ 26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9" h="304">
                    <a:moveTo>
                      <a:pt x="120" y="26"/>
                    </a:moveTo>
                    <a:cubicBezTo>
                      <a:pt x="120" y="26"/>
                      <a:pt x="65" y="109"/>
                      <a:pt x="56" y="124"/>
                    </a:cubicBezTo>
                    <a:cubicBezTo>
                      <a:pt x="47" y="140"/>
                      <a:pt x="40" y="128"/>
                      <a:pt x="37" y="124"/>
                    </a:cubicBezTo>
                    <a:cubicBezTo>
                      <a:pt x="34" y="121"/>
                      <a:pt x="5" y="130"/>
                      <a:pt x="14" y="142"/>
                    </a:cubicBezTo>
                    <a:cubicBezTo>
                      <a:pt x="23" y="154"/>
                      <a:pt x="42" y="166"/>
                      <a:pt x="42" y="166"/>
                    </a:cubicBezTo>
                    <a:cubicBezTo>
                      <a:pt x="42" y="166"/>
                      <a:pt x="27" y="189"/>
                      <a:pt x="25" y="195"/>
                    </a:cubicBezTo>
                    <a:cubicBezTo>
                      <a:pt x="25" y="195"/>
                      <a:pt x="79" y="198"/>
                      <a:pt x="95" y="195"/>
                    </a:cubicBezTo>
                    <a:cubicBezTo>
                      <a:pt x="95" y="195"/>
                      <a:pt x="66" y="255"/>
                      <a:pt x="12" y="248"/>
                    </a:cubicBezTo>
                    <a:cubicBezTo>
                      <a:pt x="12" y="248"/>
                      <a:pt x="0" y="281"/>
                      <a:pt x="3" y="286"/>
                    </a:cubicBezTo>
                    <a:cubicBezTo>
                      <a:pt x="6" y="292"/>
                      <a:pt x="77" y="304"/>
                      <a:pt x="92" y="294"/>
                    </a:cubicBezTo>
                    <a:cubicBezTo>
                      <a:pt x="108" y="284"/>
                      <a:pt x="130" y="242"/>
                      <a:pt x="155" y="202"/>
                    </a:cubicBezTo>
                    <a:cubicBezTo>
                      <a:pt x="180" y="163"/>
                      <a:pt x="209" y="167"/>
                      <a:pt x="202" y="125"/>
                    </a:cubicBezTo>
                    <a:cubicBezTo>
                      <a:pt x="196" y="84"/>
                      <a:pt x="152" y="0"/>
                      <a:pt x="120" y="26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79" name="Freeform 59">
                <a:extLst>
                  <a:ext uri="{FF2B5EF4-FFF2-40B4-BE49-F238E27FC236}">
                    <a16:creationId xmlns:a16="http://schemas.microsoft.com/office/drawing/2014/main" id="{E2D99547-136E-4375-A721-60B1953888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2923" y="572434"/>
                <a:ext cx="731837" cy="1079500"/>
              </a:xfrm>
              <a:custGeom>
                <a:avLst/>
                <a:gdLst>
                  <a:gd name="T0" fmla="*/ 65 w 294"/>
                  <a:gd name="T1" fmla="*/ 137 h 433"/>
                  <a:gd name="T2" fmla="*/ 4 w 294"/>
                  <a:gd name="T3" fmla="*/ 93 h 433"/>
                  <a:gd name="T4" fmla="*/ 40 w 294"/>
                  <a:gd name="T5" fmla="*/ 2 h 433"/>
                  <a:gd name="T6" fmla="*/ 80 w 294"/>
                  <a:gd name="T7" fmla="*/ 62 h 433"/>
                  <a:gd name="T8" fmla="*/ 166 w 294"/>
                  <a:gd name="T9" fmla="*/ 49 h 433"/>
                  <a:gd name="T10" fmla="*/ 177 w 294"/>
                  <a:gd name="T11" fmla="*/ 109 h 433"/>
                  <a:gd name="T12" fmla="*/ 251 w 294"/>
                  <a:gd name="T13" fmla="*/ 212 h 433"/>
                  <a:gd name="T14" fmla="*/ 288 w 294"/>
                  <a:gd name="T15" fmla="*/ 247 h 433"/>
                  <a:gd name="T16" fmla="*/ 255 w 294"/>
                  <a:gd name="T17" fmla="*/ 247 h 433"/>
                  <a:gd name="T18" fmla="*/ 259 w 294"/>
                  <a:gd name="T19" fmla="*/ 304 h 433"/>
                  <a:gd name="T20" fmla="*/ 240 w 294"/>
                  <a:gd name="T21" fmla="*/ 304 h 433"/>
                  <a:gd name="T22" fmla="*/ 200 w 294"/>
                  <a:gd name="T23" fmla="*/ 369 h 433"/>
                  <a:gd name="T24" fmla="*/ 135 w 294"/>
                  <a:gd name="T25" fmla="*/ 386 h 433"/>
                  <a:gd name="T26" fmla="*/ 110 w 294"/>
                  <a:gd name="T27" fmla="*/ 431 h 433"/>
                  <a:gd name="T28" fmla="*/ 66 w 294"/>
                  <a:gd name="T29" fmla="*/ 384 h 433"/>
                  <a:gd name="T30" fmla="*/ 45 w 294"/>
                  <a:gd name="T31" fmla="*/ 399 h 433"/>
                  <a:gd name="T32" fmla="*/ 20 w 294"/>
                  <a:gd name="T33" fmla="*/ 332 h 433"/>
                  <a:gd name="T34" fmla="*/ 53 w 294"/>
                  <a:gd name="T35" fmla="*/ 268 h 433"/>
                  <a:gd name="T36" fmla="*/ 87 w 294"/>
                  <a:gd name="T37" fmla="*/ 216 h 433"/>
                  <a:gd name="T38" fmla="*/ 65 w 294"/>
                  <a:gd name="T39" fmla="*/ 137 h 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94" h="433">
                    <a:moveTo>
                      <a:pt x="65" y="137"/>
                    </a:moveTo>
                    <a:cubicBezTo>
                      <a:pt x="65" y="137"/>
                      <a:pt x="8" y="139"/>
                      <a:pt x="4" y="93"/>
                    </a:cubicBezTo>
                    <a:cubicBezTo>
                      <a:pt x="0" y="48"/>
                      <a:pt x="21" y="3"/>
                      <a:pt x="40" y="2"/>
                    </a:cubicBezTo>
                    <a:cubicBezTo>
                      <a:pt x="60" y="0"/>
                      <a:pt x="121" y="30"/>
                      <a:pt x="80" y="62"/>
                    </a:cubicBezTo>
                    <a:cubicBezTo>
                      <a:pt x="80" y="62"/>
                      <a:pt x="136" y="39"/>
                      <a:pt x="166" y="49"/>
                    </a:cubicBezTo>
                    <a:cubicBezTo>
                      <a:pt x="196" y="59"/>
                      <a:pt x="230" y="91"/>
                      <a:pt x="177" y="109"/>
                    </a:cubicBezTo>
                    <a:cubicBezTo>
                      <a:pt x="177" y="109"/>
                      <a:pt x="278" y="150"/>
                      <a:pt x="251" y="212"/>
                    </a:cubicBezTo>
                    <a:cubicBezTo>
                      <a:pt x="251" y="212"/>
                      <a:pt x="294" y="227"/>
                      <a:pt x="288" y="247"/>
                    </a:cubicBezTo>
                    <a:cubicBezTo>
                      <a:pt x="283" y="267"/>
                      <a:pt x="255" y="247"/>
                      <a:pt x="255" y="247"/>
                    </a:cubicBezTo>
                    <a:cubicBezTo>
                      <a:pt x="255" y="247"/>
                      <a:pt x="277" y="293"/>
                      <a:pt x="259" y="304"/>
                    </a:cubicBezTo>
                    <a:cubicBezTo>
                      <a:pt x="242" y="315"/>
                      <a:pt x="240" y="304"/>
                      <a:pt x="240" y="304"/>
                    </a:cubicBezTo>
                    <a:cubicBezTo>
                      <a:pt x="240" y="304"/>
                      <a:pt x="246" y="348"/>
                      <a:pt x="200" y="369"/>
                    </a:cubicBezTo>
                    <a:cubicBezTo>
                      <a:pt x="154" y="391"/>
                      <a:pt x="135" y="386"/>
                      <a:pt x="135" y="386"/>
                    </a:cubicBezTo>
                    <a:cubicBezTo>
                      <a:pt x="135" y="386"/>
                      <a:pt x="137" y="433"/>
                      <a:pt x="110" y="431"/>
                    </a:cubicBezTo>
                    <a:cubicBezTo>
                      <a:pt x="82" y="428"/>
                      <a:pt x="66" y="384"/>
                      <a:pt x="66" y="384"/>
                    </a:cubicBezTo>
                    <a:cubicBezTo>
                      <a:pt x="66" y="384"/>
                      <a:pt x="68" y="401"/>
                      <a:pt x="45" y="399"/>
                    </a:cubicBezTo>
                    <a:cubicBezTo>
                      <a:pt x="22" y="397"/>
                      <a:pt x="21" y="347"/>
                      <a:pt x="20" y="332"/>
                    </a:cubicBezTo>
                    <a:cubicBezTo>
                      <a:pt x="20" y="317"/>
                      <a:pt x="53" y="268"/>
                      <a:pt x="53" y="268"/>
                    </a:cubicBezTo>
                    <a:cubicBezTo>
                      <a:pt x="53" y="268"/>
                      <a:pt x="64" y="216"/>
                      <a:pt x="87" y="216"/>
                    </a:cubicBezTo>
                    <a:cubicBezTo>
                      <a:pt x="87" y="216"/>
                      <a:pt x="16" y="182"/>
                      <a:pt x="65" y="137"/>
                    </a:cubicBezTo>
                  </a:path>
                </a:pathLst>
              </a:custGeom>
              <a:solidFill>
                <a:srgbClr val="A9660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80" name="Freeform 60">
                <a:extLst>
                  <a:ext uri="{FF2B5EF4-FFF2-40B4-BE49-F238E27FC236}">
                    <a16:creationId xmlns:a16="http://schemas.microsoft.com/office/drawing/2014/main" id="{0A3A21BC-38B3-414A-BC4D-A48E3AC68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623" y="1104247"/>
                <a:ext cx="168275" cy="296863"/>
              </a:xfrm>
              <a:custGeom>
                <a:avLst/>
                <a:gdLst>
                  <a:gd name="T0" fmla="*/ 29 w 68"/>
                  <a:gd name="T1" fmla="*/ 3 h 119"/>
                  <a:gd name="T2" fmla="*/ 57 w 68"/>
                  <a:gd name="T3" fmla="*/ 70 h 119"/>
                  <a:gd name="T4" fmla="*/ 10 w 68"/>
                  <a:gd name="T5" fmla="*/ 107 h 119"/>
                  <a:gd name="T6" fmla="*/ 23 w 68"/>
                  <a:gd name="T7" fmla="*/ 69 h 119"/>
                  <a:gd name="T8" fmla="*/ 29 w 68"/>
                  <a:gd name="T9" fmla="*/ 3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119">
                    <a:moveTo>
                      <a:pt x="29" y="3"/>
                    </a:moveTo>
                    <a:cubicBezTo>
                      <a:pt x="40" y="0"/>
                      <a:pt x="68" y="45"/>
                      <a:pt x="57" y="70"/>
                    </a:cubicBezTo>
                    <a:cubicBezTo>
                      <a:pt x="46" y="96"/>
                      <a:pt x="20" y="119"/>
                      <a:pt x="10" y="107"/>
                    </a:cubicBezTo>
                    <a:cubicBezTo>
                      <a:pt x="0" y="94"/>
                      <a:pt x="12" y="85"/>
                      <a:pt x="23" y="69"/>
                    </a:cubicBezTo>
                    <a:cubicBezTo>
                      <a:pt x="34" y="54"/>
                      <a:pt x="15" y="8"/>
                      <a:pt x="29" y="3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81" name="Freeform 61">
                <a:extLst>
                  <a:ext uri="{FF2B5EF4-FFF2-40B4-BE49-F238E27FC236}">
                    <a16:creationId xmlns:a16="http://schemas.microsoft.com/office/drawing/2014/main" id="{80D37123-F0C6-4175-9559-ADC151DD5D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9273" y="939147"/>
                <a:ext cx="80962" cy="95250"/>
              </a:xfrm>
              <a:custGeom>
                <a:avLst/>
                <a:gdLst>
                  <a:gd name="T0" fmla="*/ 9 w 32"/>
                  <a:gd name="T1" fmla="*/ 0 h 38"/>
                  <a:gd name="T2" fmla="*/ 29 w 32"/>
                  <a:gd name="T3" fmla="*/ 38 h 38"/>
                  <a:gd name="T4" fmla="*/ 0 w 32"/>
                  <a:gd name="T5" fmla="*/ 7 h 38"/>
                  <a:gd name="T6" fmla="*/ 9 w 32"/>
                  <a:gd name="T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38">
                    <a:moveTo>
                      <a:pt x="9" y="0"/>
                    </a:moveTo>
                    <a:cubicBezTo>
                      <a:pt x="9" y="0"/>
                      <a:pt x="32" y="12"/>
                      <a:pt x="29" y="38"/>
                    </a:cubicBezTo>
                    <a:cubicBezTo>
                      <a:pt x="29" y="38"/>
                      <a:pt x="20" y="7"/>
                      <a:pt x="0" y="7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9555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782" name="Freeform 62">
                <a:extLst>
                  <a:ext uri="{FF2B5EF4-FFF2-40B4-BE49-F238E27FC236}">
                    <a16:creationId xmlns:a16="http://schemas.microsoft.com/office/drawing/2014/main" id="{24B0F60A-289D-465F-B4DC-C9CA1FDA36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2598" y="1034397"/>
                <a:ext cx="47625" cy="61913"/>
              </a:xfrm>
              <a:custGeom>
                <a:avLst/>
                <a:gdLst>
                  <a:gd name="T0" fmla="*/ 17 w 19"/>
                  <a:gd name="T1" fmla="*/ 16 h 25"/>
                  <a:gd name="T2" fmla="*/ 5 w 19"/>
                  <a:gd name="T3" fmla="*/ 23 h 25"/>
                  <a:gd name="T4" fmla="*/ 2 w 19"/>
                  <a:gd name="T5" fmla="*/ 9 h 25"/>
                  <a:gd name="T6" fmla="*/ 14 w 19"/>
                  <a:gd name="T7" fmla="*/ 1 h 25"/>
                  <a:gd name="T8" fmla="*/ 17 w 19"/>
                  <a:gd name="T9" fmla="*/ 1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17" y="16"/>
                    </a:moveTo>
                    <a:cubicBezTo>
                      <a:pt x="14" y="22"/>
                      <a:pt x="8" y="25"/>
                      <a:pt x="5" y="23"/>
                    </a:cubicBezTo>
                    <a:cubicBezTo>
                      <a:pt x="1" y="22"/>
                      <a:pt x="0" y="15"/>
                      <a:pt x="2" y="9"/>
                    </a:cubicBezTo>
                    <a:cubicBezTo>
                      <a:pt x="5" y="3"/>
                      <a:pt x="10" y="0"/>
                      <a:pt x="14" y="1"/>
                    </a:cubicBezTo>
                    <a:cubicBezTo>
                      <a:pt x="18" y="3"/>
                      <a:pt x="19" y="9"/>
                      <a:pt x="17" y="16"/>
                    </a:cubicBezTo>
                  </a:path>
                </a:pathLst>
              </a:custGeom>
              <a:solidFill>
                <a:srgbClr val="1314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18" name="Freeform 63">
                <a:extLst>
                  <a:ext uri="{FF2B5EF4-FFF2-40B4-BE49-F238E27FC236}">
                    <a16:creationId xmlns:a16="http://schemas.microsoft.com/office/drawing/2014/main" id="{F5810522-FEAF-459D-8BB2-52FB5FF1B6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1598" y="3237847"/>
                <a:ext cx="157162" cy="1652588"/>
              </a:xfrm>
              <a:custGeom>
                <a:avLst/>
                <a:gdLst>
                  <a:gd name="T0" fmla="*/ 49 w 63"/>
                  <a:gd name="T1" fmla="*/ 0 h 663"/>
                  <a:gd name="T2" fmla="*/ 61 w 63"/>
                  <a:gd name="T3" fmla="*/ 629 h 663"/>
                  <a:gd name="T4" fmla="*/ 12 w 63"/>
                  <a:gd name="T5" fmla="*/ 629 h 663"/>
                  <a:gd name="T6" fmla="*/ 0 w 63"/>
                  <a:gd name="T7" fmla="*/ 0 h 663"/>
                  <a:gd name="T8" fmla="*/ 49 w 63"/>
                  <a:gd name="T9" fmla="*/ 0 h 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663">
                    <a:moveTo>
                      <a:pt x="49" y="0"/>
                    </a:moveTo>
                    <a:cubicBezTo>
                      <a:pt x="49" y="0"/>
                      <a:pt x="58" y="609"/>
                      <a:pt x="61" y="629"/>
                    </a:cubicBezTo>
                    <a:cubicBezTo>
                      <a:pt x="63" y="649"/>
                      <a:pt x="20" y="663"/>
                      <a:pt x="12" y="629"/>
                    </a:cubicBezTo>
                    <a:cubicBezTo>
                      <a:pt x="5" y="595"/>
                      <a:pt x="0" y="0"/>
                      <a:pt x="0" y="0"/>
                    </a:cubicBez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2A35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19" name="Freeform 64">
                <a:extLst>
                  <a:ext uri="{FF2B5EF4-FFF2-40B4-BE49-F238E27FC236}">
                    <a16:creationId xmlns:a16="http://schemas.microsoft.com/office/drawing/2014/main" id="{843B728C-6169-4113-AB99-947E135731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6698" y="3796647"/>
                <a:ext cx="133350" cy="954088"/>
              </a:xfrm>
              <a:custGeom>
                <a:avLst/>
                <a:gdLst>
                  <a:gd name="T0" fmla="*/ 10 w 53"/>
                  <a:gd name="T1" fmla="*/ 18 h 383"/>
                  <a:gd name="T2" fmla="*/ 10 w 53"/>
                  <a:gd name="T3" fmla="*/ 383 h 383"/>
                  <a:gd name="T4" fmla="*/ 53 w 53"/>
                  <a:gd name="T5" fmla="*/ 383 h 383"/>
                  <a:gd name="T6" fmla="*/ 53 w 53"/>
                  <a:gd name="T7" fmla="*/ 18 h 383"/>
                  <a:gd name="T8" fmla="*/ 10 w 53"/>
                  <a:gd name="T9" fmla="*/ 18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383">
                    <a:moveTo>
                      <a:pt x="10" y="18"/>
                    </a:moveTo>
                    <a:cubicBezTo>
                      <a:pt x="10" y="18"/>
                      <a:pt x="0" y="372"/>
                      <a:pt x="10" y="383"/>
                    </a:cubicBezTo>
                    <a:cubicBezTo>
                      <a:pt x="53" y="383"/>
                      <a:pt x="53" y="383"/>
                      <a:pt x="53" y="383"/>
                    </a:cubicBezTo>
                    <a:cubicBezTo>
                      <a:pt x="53" y="18"/>
                      <a:pt x="53" y="18"/>
                      <a:pt x="53" y="18"/>
                    </a:cubicBezTo>
                    <a:cubicBezTo>
                      <a:pt x="53" y="0"/>
                      <a:pt x="11" y="3"/>
                      <a:pt x="10" y="18"/>
                    </a:cubicBezTo>
                  </a:path>
                </a:pathLst>
              </a:custGeom>
              <a:solidFill>
                <a:srgbClr val="3C4D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20" name="Freeform 65">
                <a:extLst>
                  <a:ext uri="{FF2B5EF4-FFF2-40B4-BE49-F238E27FC236}">
                    <a16:creationId xmlns:a16="http://schemas.microsoft.com/office/drawing/2014/main" id="{BA20CCD9-7AED-495E-93E5-B57A412C2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2973" y="3772835"/>
                <a:ext cx="153987" cy="985838"/>
              </a:xfrm>
              <a:custGeom>
                <a:avLst/>
                <a:gdLst>
                  <a:gd name="T0" fmla="*/ 0 w 62"/>
                  <a:gd name="T1" fmla="*/ 21 h 395"/>
                  <a:gd name="T2" fmla="*/ 14 w 62"/>
                  <a:gd name="T3" fmla="*/ 392 h 395"/>
                  <a:gd name="T4" fmla="*/ 56 w 62"/>
                  <a:gd name="T5" fmla="*/ 392 h 395"/>
                  <a:gd name="T6" fmla="*/ 56 w 62"/>
                  <a:gd name="T7" fmla="*/ 31 h 395"/>
                  <a:gd name="T8" fmla="*/ 0 w 62"/>
                  <a:gd name="T9" fmla="*/ 21 h 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395">
                    <a:moveTo>
                      <a:pt x="0" y="21"/>
                    </a:moveTo>
                    <a:cubicBezTo>
                      <a:pt x="0" y="21"/>
                      <a:pt x="4" y="390"/>
                      <a:pt x="14" y="392"/>
                    </a:cubicBezTo>
                    <a:cubicBezTo>
                      <a:pt x="24" y="395"/>
                      <a:pt x="56" y="392"/>
                      <a:pt x="56" y="392"/>
                    </a:cubicBezTo>
                    <a:cubicBezTo>
                      <a:pt x="56" y="392"/>
                      <a:pt x="62" y="62"/>
                      <a:pt x="56" y="31"/>
                    </a:cubicBezTo>
                    <a:cubicBezTo>
                      <a:pt x="49" y="0"/>
                      <a:pt x="0" y="21"/>
                      <a:pt x="0" y="21"/>
                    </a:cubicBezTo>
                  </a:path>
                </a:pathLst>
              </a:custGeom>
              <a:solidFill>
                <a:srgbClr val="3C4D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21" name="Freeform 66">
                <a:extLst>
                  <a:ext uri="{FF2B5EF4-FFF2-40B4-BE49-F238E27FC236}">
                    <a16:creationId xmlns:a16="http://schemas.microsoft.com/office/drawing/2014/main" id="{853218E2-7625-40B3-9D0B-C3A2E5C194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3998" y="3628372"/>
                <a:ext cx="915987" cy="234950"/>
              </a:xfrm>
              <a:custGeom>
                <a:avLst/>
                <a:gdLst>
                  <a:gd name="T0" fmla="*/ 367 w 367"/>
                  <a:gd name="T1" fmla="*/ 27 h 94"/>
                  <a:gd name="T2" fmla="*/ 351 w 367"/>
                  <a:gd name="T3" fmla="*/ 94 h 94"/>
                  <a:gd name="T4" fmla="*/ 2 w 367"/>
                  <a:gd name="T5" fmla="*/ 89 h 94"/>
                  <a:gd name="T6" fmla="*/ 0 w 367"/>
                  <a:gd name="T7" fmla="*/ 3 h 94"/>
                  <a:gd name="T8" fmla="*/ 367 w 367"/>
                  <a:gd name="T9" fmla="*/ 2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7" h="94">
                    <a:moveTo>
                      <a:pt x="367" y="27"/>
                    </a:moveTo>
                    <a:cubicBezTo>
                      <a:pt x="351" y="94"/>
                      <a:pt x="351" y="94"/>
                      <a:pt x="351" y="94"/>
                    </a:cubicBezTo>
                    <a:cubicBezTo>
                      <a:pt x="2" y="89"/>
                      <a:pt x="2" y="89"/>
                      <a:pt x="2" y="89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278" y="0"/>
                      <a:pt x="367" y="27"/>
                    </a:cubicBezTo>
                  </a:path>
                </a:pathLst>
              </a:custGeom>
              <a:solidFill>
                <a:srgbClr val="3C4D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22" name="Freeform 67">
                <a:extLst>
                  <a:ext uri="{FF2B5EF4-FFF2-40B4-BE49-F238E27FC236}">
                    <a16:creationId xmlns:a16="http://schemas.microsoft.com/office/drawing/2014/main" id="{BEDEDBBB-8D3B-4E73-A0D2-C5BBD5163A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9098" y="2666347"/>
                <a:ext cx="74612" cy="149225"/>
              </a:xfrm>
              <a:custGeom>
                <a:avLst/>
                <a:gdLst>
                  <a:gd name="T0" fmla="*/ 30 w 30"/>
                  <a:gd name="T1" fmla="*/ 0 h 60"/>
                  <a:gd name="T2" fmla="*/ 0 w 30"/>
                  <a:gd name="T3" fmla="*/ 60 h 60"/>
                  <a:gd name="T4" fmla="*/ 30 w 30"/>
                  <a:gd name="T5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60">
                    <a:moveTo>
                      <a:pt x="30" y="0"/>
                    </a:moveTo>
                    <a:cubicBezTo>
                      <a:pt x="30" y="0"/>
                      <a:pt x="1" y="46"/>
                      <a:pt x="0" y="60"/>
                    </a:cubicBezTo>
                    <a:cubicBezTo>
                      <a:pt x="0" y="60"/>
                      <a:pt x="27" y="19"/>
                      <a:pt x="30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23" name="Freeform 68">
                <a:extLst>
                  <a:ext uri="{FF2B5EF4-FFF2-40B4-BE49-F238E27FC236}">
                    <a16:creationId xmlns:a16="http://schemas.microsoft.com/office/drawing/2014/main" id="{F89B4D3B-9898-42FB-B8B4-E607834A12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3748" y="4485622"/>
                <a:ext cx="420687" cy="533400"/>
              </a:xfrm>
              <a:custGeom>
                <a:avLst/>
                <a:gdLst>
                  <a:gd name="T0" fmla="*/ 117 w 169"/>
                  <a:gd name="T1" fmla="*/ 39 h 214"/>
                  <a:gd name="T2" fmla="*/ 81 w 169"/>
                  <a:gd name="T3" fmla="*/ 103 h 214"/>
                  <a:gd name="T4" fmla="*/ 99 w 169"/>
                  <a:gd name="T5" fmla="*/ 158 h 214"/>
                  <a:gd name="T6" fmla="*/ 165 w 169"/>
                  <a:gd name="T7" fmla="*/ 180 h 214"/>
                  <a:gd name="T8" fmla="*/ 165 w 169"/>
                  <a:gd name="T9" fmla="*/ 207 h 214"/>
                  <a:gd name="T10" fmla="*/ 64 w 169"/>
                  <a:gd name="T11" fmla="*/ 207 h 214"/>
                  <a:gd name="T12" fmla="*/ 6 w 169"/>
                  <a:gd name="T13" fmla="*/ 53 h 214"/>
                  <a:gd name="T14" fmla="*/ 64 w 169"/>
                  <a:gd name="T15" fmla="*/ 8 h 214"/>
                  <a:gd name="T16" fmla="*/ 117 w 169"/>
                  <a:gd name="T17" fmla="*/ 39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9" h="214">
                    <a:moveTo>
                      <a:pt x="117" y="39"/>
                    </a:moveTo>
                    <a:cubicBezTo>
                      <a:pt x="117" y="39"/>
                      <a:pt x="86" y="88"/>
                      <a:pt x="81" y="103"/>
                    </a:cubicBezTo>
                    <a:cubicBezTo>
                      <a:pt x="76" y="117"/>
                      <a:pt x="91" y="155"/>
                      <a:pt x="99" y="158"/>
                    </a:cubicBezTo>
                    <a:cubicBezTo>
                      <a:pt x="107" y="160"/>
                      <a:pt x="161" y="170"/>
                      <a:pt x="165" y="180"/>
                    </a:cubicBezTo>
                    <a:cubicBezTo>
                      <a:pt x="169" y="190"/>
                      <a:pt x="165" y="207"/>
                      <a:pt x="165" y="207"/>
                    </a:cubicBezTo>
                    <a:cubicBezTo>
                      <a:pt x="165" y="207"/>
                      <a:pt x="99" y="214"/>
                      <a:pt x="64" y="207"/>
                    </a:cubicBezTo>
                    <a:cubicBezTo>
                      <a:pt x="28" y="200"/>
                      <a:pt x="0" y="93"/>
                      <a:pt x="6" y="53"/>
                    </a:cubicBezTo>
                    <a:cubicBezTo>
                      <a:pt x="6" y="53"/>
                      <a:pt x="55" y="16"/>
                      <a:pt x="64" y="8"/>
                    </a:cubicBezTo>
                    <a:cubicBezTo>
                      <a:pt x="72" y="0"/>
                      <a:pt x="117" y="39"/>
                      <a:pt x="117" y="39"/>
                    </a:cubicBezTo>
                  </a:path>
                </a:pathLst>
              </a:custGeom>
              <a:solidFill>
                <a:srgbClr val="192E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24" name="Freeform 69">
                <a:extLst>
                  <a:ext uri="{FF2B5EF4-FFF2-40B4-BE49-F238E27FC236}">
                    <a16:creationId xmlns:a16="http://schemas.microsoft.com/office/drawing/2014/main" id="{8D28F4C3-4FDE-48A5-B540-E48425E01B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8186" y="3360085"/>
                <a:ext cx="1236662" cy="1268413"/>
              </a:xfrm>
              <a:custGeom>
                <a:avLst/>
                <a:gdLst>
                  <a:gd name="T0" fmla="*/ 146 w 496"/>
                  <a:gd name="T1" fmla="*/ 36 h 509"/>
                  <a:gd name="T2" fmla="*/ 465 w 496"/>
                  <a:gd name="T3" fmla="*/ 17 h 509"/>
                  <a:gd name="T4" fmla="*/ 476 w 496"/>
                  <a:gd name="T5" fmla="*/ 95 h 509"/>
                  <a:gd name="T6" fmla="*/ 153 w 496"/>
                  <a:gd name="T7" fmla="*/ 491 h 509"/>
                  <a:gd name="T8" fmla="*/ 69 w 496"/>
                  <a:gd name="T9" fmla="*/ 456 h 509"/>
                  <a:gd name="T10" fmla="*/ 344 w 496"/>
                  <a:gd name="T11" fmla="*/ 109 h 509"/>
                  <a:gd name="T12" fmla="*/ 69 w 496"/>
                  <a:gd name="T13" fmla="*/ 73 h 509"/>
                  <a:gd name="T14" fmla="*/ 22 w 496"/>
                  <a:gd name="T15" fmla="*/ 17 h 509"/>
                  <a:gd name="T16" fmla="*/ 146 w 496"/>
                  <a:gd name="T17" fmla="*/ 36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6" h="509">
                    <a:moveTo>
                      <a:pt x="146" y="36"/>
                    </a:moveTo>
                    <a:cubicBezTo>
                      <a:pt x="146" y="36"/>
                      <a:pt x="443" y="0"/>
                      <a:pt x="465" y="17"/>
                    </a:cubicBezTo>
                    <a:cubicBezTo>
                      <a:pt x="488" y="33"/>
                      <a:pt x="496" y="67"/>
                      <a:pt x="476" y="95"/>
                    </a:cubicBezTo>
                    <a:cubicBezTo>
                      <a:pt x="455" y="123"/>
                      <a:pt x="169" y="473"/>
                      <a:pt x="153" y="491"/>
                    </a:cubicBezTo>
                    <a:cubicBezTo>
                      <a:pt x="137" y="509"/>
                      <a:pt x="78" y="480"/>
                      <a:pt x="69" y="456"/>
                    </a:cubicBezTo>
                    <a:cubicBezTo>
                      <a:pt x="69" y="456"/>
                      <a:pt x="334" y="136"/>
                      <a:pt x="344" y="109"/>
                    </a:cubicBezTo>
                    <a:cubicBezTo>
                      <a:pt x="344" y="109"/>
                      <a:pt x="97" y="109"/>
                      <a:pt x="69" y="73"/>
                    </a:cubicBezTo>
                    <a:cubicBezTo>
                      <a:pt x="41" y="37"/>
                      <a:pt x="0" y="29"/>
                      <a:pt x="22" y="17"/>
                    </a:cubicBezTo>
                    <a:cubicBezTo>
                      <a:pt x="44" y="4"/>
                      <a:pt x="146" y="36"/>
                      <a:pt x="146" y="36"/>
                    </a:cubicBezTo>
                  </a:path>
                </a:pathLst>
              </a:custGeom>
              <a:solidFill>
                <a:srgbClr val="ED3B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25" name="Freeform 70">
                <a:extLst>
                  <a:ext uri="{FF2B5EF4-FFF2-40B4-BE49-F238E27FC236}">
                    <a16:creationId xmlns:a16="http://schemas.microsoft.com/office/drawing/2014/main" id="{5D33EB0C-43D6-42E3-973F-6E835FB20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3661" y="4807885"/>
                <a:ext cx="592137" cy="388938"/>
              </a:xfrm>
              <a:custGeom>
                <a:avLst/>
                <a:gdLst>
                  <a:gd name="T0" fmla="*/ 102 w 237"/>
                  <a:gd name="T1" fmla="*/ 26 h 156"/>
                  <a:gd name="T2" fmla="*/ 124 w 237"/>
                  <a:gd name="T3" fmla="*/ 83 h 156"/>
                  <a:gd name="T4" fmla="*/ 229 w 237"/>
                  <a:gd name="T5" fmla="*/ 83 h 156"/>
                  <a:gd name="T6" fmla="*/ 236 w 237"/>
                  <a:gd name="T7" fmla="*/ 137 h 156"/>
                  <a:gd name="T8" fmla="*/ 55 w 237"/>
                  <a:gd name="T9" fmla="*/ 137 h 156"/>
                  <a:gd name="T10" fmla="*/ 0 w 237"/>
                  <a:gd name="T11" fmla="*/ 135 h 156"/>
                  <a:gd name="T12" fmla="*/ 21 w 237"/>
                  <a:gd name="T13" fmla="*/ 14 h 156"/>
                  <a:gd name="T14" fmla="*/ 102 w 237"/>
                  <a:gd name="T15" fmla="*/ 2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7" h="156">
                    <a:moveTo>
                      <a:pt x="102" y="26"/>
                    </a:moveTo>
                    <a:cubicBezTo>
                      <a:pt x="102" y="26"/>
                      <a:pt x="114" y="75"/>
                      <a:pt x="124" y="83"/>
                    </a:cubicBezTo>
                    <a:cubicBezTo>
                      <a:pt x="134" y="91"/>
                      <a:pt x="221" y="71"/>
                      <a:pt x="229" y="83"/>
                    </a:cubicBezTo>
                    <a:cubicBezTo>
                      <a:pt x="237" y="95"/>
                      <a:pt x="236" y="137"/>
                      <a:pt x="236" y="137"/>
                    </a:cubicBezTo>
                    <a:cubicBezTo>
                      <a:pt x="236" y="137"/>
                      <a:pt x="77" y="156"/>
                      <a:pt x="55" y="137"/>
                    </a:cubicBezTo>
                    <a:cubicBezTo>
                      <a:pt x="55" y="137"/>
                      <a:pt x="14" y="147"/>
                      <a:pt x="0" y="135"/>
                    </a:cubicBezTo>
                    <a:cubicBezTo>
                      <a:pt x="0" y="135"/>
                      <a:pt x="9" y="29"/>
                      <a:pt x="21" y="14"/>
                    </a:cubicBezTo>
                    <a:cubicBezTo>
                      <a:pt x="33" y="0"/>
                      <a:pt x="102" y="26"/>
                      <a:pt x="102" y="26"/>
                    </a:cubicBezTo>
                  </a:path>
                </a:pathLst>
              </a:custGeom>
              <a:solidFill>
                <a:srgbClr val="192E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26" name="Freeform 71">
                <a:extLst>
                  <a:ext uri="{FF2B5EF4-FFF2-40B4-BE49-F238E27FC236}">
                    <a16:creationId xmlns:a16="http://schemas.microsoft.com/office/drawing/2014/main" id="{ABCC74A3-D711-4BDF-BBEE-2DC63E2F75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8623" y="3379135"/>
                <a:ext cx="1419225" cy="1528763"/>
              </a:xfrm>
              <a:custGeom>
                <a:avLst/>
                <a:gdLst>
                  <a:gd name="T0" fmla="*/ 146 w 569"/>
                  <a:gd name="T1" fmla="*/ 9 h 613"/>
                  <a:gd name="T2" fmla="*/ 210 w 569"/>
                  <a:gd name="T3" fmla="*/ 55 h 613"/>
                  <a:gd name="T4" fmla="*/ 545 w 569"/>
                  <a:gd name="T5" fmla="*/ 79 h 613"/>
                  <a:gd name="T6" fmla="*/ 495 w 569"/>
                  <a:gd name="T7" fmla="*/ 610 h 613"/>
                  <a:gd name="T8" fmla="*/ 374 w 569"/>
                  <a:gd name="T9" fmla="*/ 610 h 613"/>
                  <a:gd name="T10" fmla="*/ 452 w 569"/>
                  <a:gd name="T11" fmla="*/ 170 h 613"/>
                  <a:gd name="T12" fmla="*/ 24 w 569"/>
                  <a:gd name="T13" fmla="*/ 107 h 613"/>
                  <a:gd name="T14" fmla="*/ 6 w 569"/>
                  <a:gd name="T15" fmla="*/ 23 h 613"/>
                  <a:gd name="T16" fmla="*/ 146 w 569"/>
                  <a:gd name="T17" fmla="*/ 9 h 6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9" h="613">
                    <a:moveTo>
                      <a:pt x="146" y="9"/>
                    </a:moveTo>
                    <a:cubicBezTo>
                      <a:pt x="146" y="9"/>
                      <a:pt x="181" y="53"/>
                      <a:pt x="210" y="55"/>
                    </a:cubicBezTo>
                    <a:cubicBezTo>
                      <a:pt x="239" y="57"/>
                      <a:pt x="521" y="51"/>
                      <a:pt x="545" y="79"/>
                    </a:cubicBezTo>
                    <a:cubicBezTo>
                      <a:pt x="569" y="107"/>
                      <a:pt x="485" y="551"/>
                      <a:pt x="495" y="610"/>
                    </a:cubicBezTo>
                    <a:cubicBezTo>
                      <a:pt x="495" y="610"/>
                      <a:pt x="388" y="613"/>
                      <a:pt x="374" y="610"/>
                    </a:cubicBezTo>
                    <a:cubicBezTo>
                      <a:pt x="374" y="610"/>
                      <a:pt x="462" y="190"/>
                      <a:pt x="452" y="170"/>
                    </a:cubicBezTo>
                    <a:cubicBezTo>
                      <a:pt x="442" y="150"/>
                      <a:pt x="46" y="129"/>
                      <a:pt x="24" y="107"/>
                    </a:cubicBezTo>
                    <a:cubicBezTo>
                      <a:pt x="2" y="85"/>
                      <a:pt x="0" y="45"/>
                      <a:pt x="6" y="23"/>
                    </a:cubicBezTo>
                    <a:cubicBezTo>
                      <a:pt x="12" y="0"/>
                      <a:pt x="146" y="9"/>
                      <a:pt x="146" y="9"/>
                    </a:cubicBezTo>
                  </a:path>
                </a:pathLst>
              </a:custGeom>
              <a:solidFill>
                <a:srgbClr val="F848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27" name="Freeform 72">
                <a:extLst>
                  <a:ext uri="{FF2B5EF4-FFF2-40B4-BE49-F238E27FC236}">
                    <a16:creationId xmlns:a16="http://schemas.microsoft.com/office/drawing/2014/main" id="{A04D56D7-282B-4F04-91D2-CB202C5756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4023" y="1223309"/>
                <a:ext cx="839787" cy="765175"/>
              </a:xfrm>
              <a:custGeom>
                <a:avLst/>
                <a:gdLst>
                  <a:gd name="T0" fmla="*/ 72 w 337"/>
                  <a:gd name="T1" fmla="*/ 296 h 307"/>
                  <a:gd name="T2" fmla="*/ 29 w 337"/>
                  <a:gd name="T3" fmla="*/ 229 h 307"/>
                  <a:gd name="T4" fmla="*/ 22 w 337"/>
                  <a:gd name="T5" fmla="*/ 122 h 307"/>
                  <a:gd name="T6" fmla="*/ 3 w 337"/>
                  <a:gd name="T7" fmla="*/ 115 h 307"/>
                  <a:gd name="T8" fmla="*/ 22 w 337"/>
                  <a:gd name="T9" fmla="*/ 93 h 307"/>
                  <a:gd name="T10" fmla="*/ 16 w 337"/>
                  <a:gd name="T11" fmla="*/ 62 h 307"/>
                  <a:gd name="T12" fmla="*/ 52 w 337"/>
                  <a:gd name="T13" fmla="*/ 78 h 307"/>
                  <a:gd name="T14" fmla="*/ 210 w 337"/>
                  <a:gd name="T15" fmla="*/ 44 h 307"/>
                  <a:gd name="T16" fmla="*/ 260 w 337"/>
                  <a:gd name="T17" fmla="*/ 39 h 307"/>
                  <a:gd name="T18" fmla="*/ 318 w 337"/>
                  <a:gd name="T19" fmla="*/ 51 h 307"/>
                  <a:gd name="T20" fmla="*/ 306 w 337"/>
                  <a:gd name="T21" fmla="*/ 128 h 307"/>
                  <a:gd name="T22" fmla="*/ 297 w 337"/>
                  <a:gd name="T23" fmla="*/ 248 h 307"/>
                  <a:gd name="T24" fmla="*/ 72 w 337"/>
                  <a:gd name="T25" fmla="*/ 296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7" h="307">
                    <a:moveTo>
                      <a:pt x="72" y="296"/>
                    </a:moveTo>
                    <a:cubicBezTo>
                      <a:pt x="72" y="296"/>
                      <a:pt x="35" y="253"/>
                      <a:pt x="29" y="229"/>
                    </a:cubicBezTo>
                    <a:cubicBezTo>
                      <a:pt x="22" y="205"/>
                      <a:pt x="22" y="122"/>
                      <a:pt x="22" y="122"/>
                    </a:cubicBezTo>
                    <a:cubicBezTo>
                      <a:pt x="22" y="122"/>
                      <a:pt x="7" y="123"/>
                      <a:pt x="3" y="115"/>
                    </a:cubicBezTo>
                    <a:cubicBezTo>
                      <a:pt x="0" y="107"/>
                      <a:pt x="15" y="90"/>
                      <a:pt x="22" y="93"/>
                    </a:cubicBezTo>
                    <a:cubicBezTo>
                      <a:pt x="22" y="93"/>
                      <a:pt x="6" y="74"/>
                      <a:pt x="16" y="62"/>
                    </a:cubicBezTo>
                    <a:cubicBezTo>
                      <a:pt x="26" y="49"/>
                      <a:pt x="52" y="78"/>
                      <a:pt x="52" y="78"/>
                    </a:cubicBezTo>
                    <a:cubicBezTo>
                      <a:pt x="52" y="78"/>
                      <a:pt x="111" y="22"/>
                      <a:pt x="210" y="44"/>
                    </a:cubicBezTo>
                    <a:cubicBezTo>
                      <a:pt x="210" y="44"/>
                      <a:pt x="242" y="0"/>
                      <a:pt x="260" y="39"/>
                    </a:cubicBezTo>
                    <a:cubicBezTo>
                      <a:pt x="260" y="39"/>
                      <a:pt x="299" y="4"/>
                      <a:pt x="318" y="51"/>
                    </a:cubicBezTo>
                    <a:cubicBezTo>
                      <a:pt x="337" y="98"/>
                      <a:pt x="306" y="128"/>
                      <a:pt x="306" y="128"/>
                    </a:cubicBezTo>
                    <a:cubicBezTo>
                      <a:pt x="306" y="128"/>
                      <a:pt x="330" y="221"/>
                      <a:pt x="297" y="248"/>
                    </a:cubicBezTo>
                    <a:cubicBezTo>
                      <a:pt x="265" y="275"/>
                      <a:pt x="119" y="307"/>
                      <a:pt x="72" y="296"/>
                    </a:cubicBezTo>
                  </a:path>
                </a:pathLst>
              </a:custGeom>
              <a:solidFill>
                <a:srgbClr val="4F40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28" name="Freeform 73">
                <a:extLst>
                  <a:ext uri="{FF2B5EF4-FFF2-40B4-BE49-F238E27FC236}">
                    <a16:creationId xmlns:a16="http://schemas.microsoft.com/office/drawing/2014/main" id="{1C770640-F6CA-420D-929B-C50700B568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2786" y="1567797"/>
                <a:ext cx="509587" cy="755650"/>
              </a:xfrm>
              <a:custGeom>
                <a:avLst/>
                <a:gdLst>
                  <a:gd name="T0" fmla="*/ 0 w 204"/>
                  <a:gd name="T1" fmla="*/ 65 h 303"/>
                  <a:gd name="T2" fmla="*/ 36 w 204"/>
                  <a:gd name="T3" fmla="*/ 259 h 303"/>
                  <a:gd name="T4" fmla="*/ 148 w 204"/>
                  <a:gd name="T5" fmla="*/ 295 h 303"/>
                  <a:gd name="T6" fmla="*/ 202 w 204"/>
                  <a:gd name="T7" fmla="*/ 216 h 303"/>
                  <a:gd name="T8" fmla="*/ 180 w 204"/>
                  <a:gd name="T9" fmla="*/ 0 h 303"/>
                  <a:gd name="T10" fmla="*/ 149 w 204"/>
                  <a:gd name="T11" fmla="*/ 10 h 303"/>
                  <a:gd name="T12" fmla="*/ 54 w 204"/>
                  <a:gd name="T13" fmla="*/ 10 h 303"/>
                  <a:gd name="T14" fmla="*/ 0 w 204"/>
                  <a:gd name="T15" fmla="*/ 65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4" h="303">
                    <a:moveTo>
                      <a:pt x="0" y="65"/>
                    </a:moveTo>
                    <a:cubicBezTo>
                      <a:pt x="0" y="65"/>
                      <a:pt x="31" y="250"/>
                      <a:pt x="36" y="259"/>
                    </a:cubicBezTo>
                    <a:cubicBezTo>
                      <a:pt x="42" y="268"/>
                      <a:pt x="101" y="303"/>
                      <a:pt x="148" y="295"/>
                    </a:cubicBezTo>
                    <a:cubicBezTo>
                      <a:pt x="195" y="288"/>
                      <a:pt x="204" y="271"/>
                      <a:pt x="202" y="216"/>
                    </a:cubicBezTo>
                    <a:cubicBezTo>
                      <a:pt x="199" y="160"/>
                      <a:pt x="184" y="6"/>
                      <a:pt x="180" y="0"/>
                    </a:cubicBezTo>
                    <a:cubicBezTo>
                      <a:pt x="180" y="0"/>
                      <a:pt x="160" y="12"/>
                      <a:pt x="149" y="10"/>
                    </a:cubicBezTo>
                    <a:cubicBezTo>
                      <a:pt x="139" y="9"/>
                      <a:pt x="63" y="8"/>
                      <a:pt x="54" y="10"/>
                    </a:cubicBezTo>
                    <a:cubicBezTo>
                      <a:pt x="45" y="12"/>
                      <a:pt x="0" y="65"/>
                      <a:pt x="0" y="65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29" name="Freeform 74">
                <a:extLst>
                  <a:ext uri="{FF2B5EF4-FFF2-40B4-BE49-F238E27FC236}">
                    <a16:creationId xmlns:a16="http://schemas.microsoft.com/office/drawing/2014/main" id="{3D0C9860-BCE8-4271-8C88-B585D0E0E6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1186" y="1883709"/>
                <a:ext cx="188912" cy="282575"/>
              </a:xfrm>
              <a:custGeom>
                <a:avLst/>
                <a:gdLst>
                  <a:gd name="T0" fmla="*/ 76 w 76"/>
                  <a:gd name="T1" fmla="*/ 38 h 113"/>
                  <a:gd name="T2" fmla="*/ 24 w 76"/>
                  <a:gd name="T3" fmla="*/ 5 h 113"/>
                  <a:gd name="T4" fmla="*/ 10 w 76"/>
                  <a:gd name="T5" fmla="*/ 66 h 113"/>
                  <a:gd name="T6" fmla="*/ 76 w 76"/>
                  <a:gd name="T7" fmla="*/ 38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" h="113">
                    <a:moveTo>
                      <a:pt x="76" y="38"/>
                    </a:moveTo>
                    <a:cubicBezTo>
                      <a:pt x="76" y="38"/>
                      <a:pt x="48" y="0"/>
                      <a:pt x="24" y="5"/>
                    </a:cubicBezTo>
                    <a:cubicBezTo>
                      <a:pt x="0" y="10"/>
                      <a:pt x="3" y="52"/>
                      <a:pt x="10" y="66"/>
                    </a:cubicBezTo>
                    <a:cubicBezTo>
                      <a:pt x="18" y="80"/>
                      <a:pt x="75" y="113"/>
                      <a:pt x="76" y="38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30" name="Freeform 75">
                <a:extLst>
                  <a:ext uri="{FF2B5EF4-FFF2-40B4-BE49-F238E27FC236}">
                    <a16:creationId xmlns:a16="http://schemas.microsoft.com/office/drawing/2014/main" id="{68CCB1AC-F6B5-4284-A1F1-EC4C565CD5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9336" y="1894822"/>
                <a:ext cx="104775" cy="153988"/>
              </a:xfrm>
              <a:custGeom>
                <a:avLst/>
                <a:gdLst>
                  <a:gd name="T0" fmla="*/ 4 w 42"/>
                  <a:gd name="T1" fmla="*/ 0 h 62"/>
                  <a:gd name="T2" fmla="*/ 8 w 42"/>
                  <a:gd name="T3" fmla="*/ 26 h 62"/>
                  <a:gd name="T4" fmla="*/ 38 w 42"/>
                  <a:gd name="T5" fmla="*/ 29 h 62"/>
                  <a:gd name="T6" fmla="*/ 38 w 42"/>
                  <a:gd name="T7" fmla="*/ 56 h 62"/>
                  <a:gd name="T8" fmla="*/ 4 w 42"/>
                  <a:gd name="T9" fmla="*/ 60 h 62"/>
                  <a:gd name="T10" fmla="*/ 35 w 42"/>
                  <a:gd name="T11" fmla="*/ 51 h 62"/>
                  <a:gd name="T12" fmla="*/ 32 w 42"/>
                  <a:gd name="T13" fmla="*/ 30 h 62"/>
                  <a:gd name="T14" fmla="*/ 4 w 42"/>
                  <a:gd name="T15" fmla="*/ 30 h 62"/>
                  <a:gd name="T16" fmla="*/ 4 w 42"/>
                  <a:gd name="T17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62">
                    <a:moveTo>
                      <a:pt x="4" y="0"/>
                    </a:moveTo>
                    <a:cubicBezTo>
                      <a:pt x="4" y="0"/>
                      <a:pt x="4" y="27"/>
                      <a:pt x="8" y="26"/>
                    </a:cubicBezTo>
                    <a:cubicBezTo>
                      <a:pt x="13" y="25"/>
                      <a:pt x="34" y="25"/>
                      <a:pt x="38" y="29"/>
                    </a:cubicBezTo>
                    <a:cubicBezTo>
                      <a:pt x="42" y="34"/>
                      <a:pt x="41" y="54"/>
                      <a:pt x="38" y="56"/>
                    </a:cubicBezTo>
                    <a:cubicBezTo>
                      <a:pt x="35" y="58"/>
                      <a:pt x="15" y="62"/>
                      <a:pt x="4" y="60"/>
                    </a:cubicBezTo>
                    <a:cubicBezTo>
                      <a:pt x="4" y="60"/>
                      <a:pt x="34" y="54"/>
                      <a:pt x="35" y="51"/>
                    </a:cubicBezTo>
                    <a:cubicBezTo>
                      <a:pt x="35" y="48"/>
                      <a:pt x="35" y="30"/>
                      <a:pt x="32" y="30"/>
                    </a:cubicBezTo>
                    <a:cubicBezTo>
                      <a:pt x="29" y="31"/>
                      <a:pt x="9" y="34"/>
                      <a:pt x="4" y="30"/>
                    </a:cubicBezTo>
                    <a:cubicBezTo>
                      <a:pt x="0" y="27"/>
                      <a:pt x="3" y="5"/>
                      <a:pt x="4" y="0"/>
                    </a:cubicBezTo>
                  </a:path>
                </a:pathLst>
              </a:custGeom>
              <a:solidFill>
                <a:srgbClr val="D2A5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31" name="Freeform 76">
                <a:extLst>
                  <a:ext uri="{FF2B5EF4-FFF2-40B4-BE49-F238E27FC236}">
                    <a16:creationId xmlns:a16="http://schemas.microsoft.com/office/drawing/2014/main" id="{3F642742-64E3-4317-B91F-49813BD6E5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5986" y="2109134"/>
                <a:ext cx="228600" cy="79375"/>
              </a:xfrm>
              <a:custGeom>
                <a:avLst/>
                <a:gdLst>
                  <a:gd name="T0" fmla="*/ 0 w 92"/>
                  <a:gd name="T1" fmla="*/ 0 h 32"/>
                  <a:gd name="T2" fmla="*/ 92 w 92"/>
                  <a:gd name="T3" fmla="*/ 4 h 32"/>
                  <a:gd name="T4" fmla="*/ 0 w 92"/>
                  <a:gd name="T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2" h="32">
                    <a:moveTo>
                      <a:pt x="0" y="0"/>
                    </a:moveTo>
                    <a:cubicBezTo>
                      <a:pt x="0" y="0"/>
                      <a:pt x="52" y="19"/>
                      <a:pt x="92" y="4"/>
                    </a:cubicBezTo>
                    <a:cubicBezTo>
                      <a:pt x="92" y="4"/>
                      <a:pt x="37" y="32"/>
                      <a:pt x="0" y="0"/>
                    </a:cubicBezTo>
                  </a:path>
                </a:pathLst>
              </a:custGeom>
              <a:solidFill>
                <a:srgbClr val="7F45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32" name="Freeform 77">
                <a:extLst>
                  <a:ext uri="{FF2B5EF4-FFF2-40B4-BE49-F238E27FC236}">
                    <a16:creationId xmlns:a16="http://schemas.microsoft.com/office/drawing/2014/main" id="{54144688-3D25-415F-AC07-1D8BF502D1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3286" y="1869422"/>
                <a:ext cx="39687" cy="65088"/>
              </a:xfrm>
              <a:custGeom>
                <a:avLst/>
                <a:gdLst>
                  <a:gd name="T0" fmla="*/ 15 w 16"/>
                  <a:gd name="T1" fmla="*/ 12 h 26"/>
                  <a:gd name="T2" fmla="*/ 9 w 16"/>
                  <a:gd name="T3" fmla="*/ 25 h 26"/>
                  <a:gd name="T4" fmla="*/ 1 w 16"/>
                  <a:gd name="T5" fmla="*/ 14 h 26"/>
                  <a:gd name="T6" fmla="*/ 7 w 16"/>
                  <a:gd name="T7" fmla="*/ 1 h 26"/>
                  <a:gd name="T8" fmla="*/ 15 w 16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6">
                    <a:moveTo>
                      <a:pt x="15" y="12"/>
                    </a:moveTo>
                    <a:cubicBezTo>
                      <a:pt x="16" y="19"/>
                      <a:pt x="13" y="25"/>
                      <a:pt x="9" y="25"/>
                    </a:cubicBezTo>
                    <a:cubicBezTo>
                      <a:pt x="5" y="26"/>
                      <a:pt x="1" y="21"/>
                      <a:pt x="1" y="14"/>
                    </a:cubicBezTo>
                    <a:cubicBezTo>
                      <a:pt x="0" y="7"/>
                      <a:pt x="3" y="1"/>
                      <a:pt x="7" y="1"/>
                    </a:cubicBezTo>
                    <a:cubicBezTo>
                      <a:pt x="11" y="0"/>
                      <a:pt x="15" y="6"/>
                      <a:pt x="15" y="12"/>
                    </a:cubicBezTo>
                  </a:path>
                </a:pathLst>
              </a:custGeom>
              <a:solidFill>
                <a:srgbClr val="1314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33" name="Freeform 78">
                <a:extLst>
                  <a:ext uri="{FF2B5EF4-FFF2-40B4-BE49-F238E27FC236}">
                    <a16:creationId xmlns:a16="http://schemas.microsoft.com/office/drawing/2014/main" id="{AFDA4B81-A770-4FFF-94E3-1B4CE6199C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2836" y="1839259"/>
                <a:ext cx="39687" cy="61913"/>
              </a:xfrm>
              <a:custGeom>
                <a:avLst/>
                <a:gdLst>
                  <a:gd name="T0" fmla="*/ 15 w 16"/>
                  <a:gd name="T1" fmla="*/ 12 h 25"/>
                  <a:gd name="T2" fmla="*/ 9 w 16"/>
                  <a:gd name="T3" fmla="*/ 25 h 25"/>
                  <a:gd name="T4" fmla="*/ 1 w 16"/>
                  <a:gd name="T5" fmla="*/ 14 h 25"/>
                  <a:gd name="T6" fmla="*/ 7 w 16"/>
                  <a:gd name="T7" fmla="*/ 1 h 25"/>
                  <a:gd name="T8" fmla="*/ 15 w 16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5">
                    <a:moveTo>
                      <a:pt x="15" y="12"/>
                    </a:moveTo>
                    <a:cubicBezTo>
                      <a:pt x="16" y="19"/>
                      <a:pt x="13" y="25"/>
                      <a:pt x="9" y="25"/>
                    </a:cubicBezTo>
                    <a:cubicBezTo>
                      <a:pt x="5" y="25"/>
                      <a:pt x="1" y="20"/>
                      <a:pt x="1" y="14"/>
                    </a:cubicBezTo>
                    <a:cubicBezTo>
                      <a:pt x="0" y="7"/>
                      <a:pt x="3" y="1"/>
                      <a:pt x="7" y="1"/>
                    </a:cubicBezTo>
                    <a:cubicBezTo>
                      <a:pt x="11" y="0"/>
                      <a:pt x="15" y="5"/>
                      <a:pt x="15" y="12"/>
                    </a:cubicBezTo>
                  </a:path>
                </a:pathLst>
              </a:custGeom>
              <a:solidFill>
                <a:srgbClr val="1314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34" name="Freeform 79">
                <a:extLst>
                  <a:ext uri="{FF2B5EF4-FFF2-40B4-BE49-F238E27FC236}">
                    <a16:creationId xmlns:a16="http://schemas.microsoft.com/office/drawing/2014/main" id="{AA9A2A94-6515-4061-8CD5-4EC6EE825B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5023" y="1678922"/>
                <a:ext cx="122237" cy="76200"/>
              </a:xfrm>
              <a:custGeom>
                <a:avLst/>
                <a:gdLst>
                  <a:gd name="T0" fmla="*/ 47 w 49"/>
                  <a:gd name="T1" fmla="*/ 9 h 30"/>
                  <a:gd name="T2" fmla="*/ 0 w 49"/>
                  <a:gd name="T3" fmla="*/ 30 h 30"/>
                  <a:gd name="T4" fmla="*/ 47 w 49"/>
                  <a:gd name="T5" fmla="*/ 9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9" h="30">
                    <a:moveTo>
                      <a:pt x="47" y="9"/>
                    </a:moveTo>
                    <a:cubicBezTo>
                      <a:pt x="49" y="9"/>
                      <a:pt x="13" y="0"/>
                      <a:pt x="0" y="30"/>
                    </a:cubicBezTo>
                    <a:cubicBezTo>
                      <a:pt x="0" y="30"/>
                      <a:pt x="36" y="11"/>
                      <a:pt x="47" y="9"/>
                    </a:cubicBezTo>
                  </a:path>
                </a:pathLst>
              </a:custGeom>
              <a:solidFill>
                <a:srgbClr val="4F40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35" name="Freeform 80">
                <a:extLst>
                  <a:ext uri="{FF2B5EF4-FFF2-40B4-BE49-F238E27FC236}">
                    <a16:creationId xmlns:a16="http://schemas.microsoft.com/office/drawing/2014/main" id="{E9D2ADEA-BC62-4523-9984-F8054D1AC3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0448" y="1643997"/>
                <a:ext cx="92075" cy="68263"/>
              </a:xfrm>
              <a:custGeom>
                <a:avLst/>
                <a:gdLst>
                  <a:gd name="T0" fmla="*/ 2 w 37"/>
                  <a:gd name="T1" fmla="*/ 14 h 27"/>
                  <a:gd name="T2" fmla="*/ 37 w 37"/>
                  <a:gd name="T3" fmla="*/ 27 h 27"/>
                  <a:gd name="T4" fmla="*/ 2 w 37"/>
                  <a:gd name="T5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7" h="27">
                    <a:moveTo>
                      <a:pt x="2" y="14"/>
                    </a:moveTo>
                    <a:cubicBezTo>
                      <a:pt x="0" y="14"/>
                      <a:pt x="25" y="0"/>
                      <a:pt x="37" y="27"/>
                    </a:cubicBezTo>
                    <a:cubicBezTo>
                      <a:pt x="37" y="27"/>
                      <a:pt x="24" y="14"/>
                      <a:pt x="2" y="14"/>
                    </a:cubicBezTo>
                  </a:path>
                </a:pathLst>
              </a:custGeom>
              <a:solidFill>
                <a:srgbClr val="4F40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36" name="Freeform 81">
                <a:extLst>
                  <a:ext uri="{FF2B5EF4-FFF2-40B4-BE49-F238E27FC236}">
                    <a16:creationId xmlns:a16="http://schemas.microsoft.com/office/drawing/2014/main" id="{BA046FFA-224A-469A-A875-323A9B6A29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5836" y="2586972"/>
                <a:ext cx="298450" cy="547688"/>
              </a:xfrm>
              <a:custGeom>
                <a:avLst/>
                <a:gdLst>
                  <a:gd name="T0" fmla="*/ 49 w 120"/>
                  <a:gd name="T1" fmla="*/ 42 h 220"/>
                  <a:gd name="T2" fmla="*/ 103 w 120"/>
                  <a:gd name="T3" fmla="*/ 186 h 220"/>
                  <a:gd name="T4" fmla="*/ 61 w 120"/>
                  <a:gd name="T5" fmla="*/ 217 h 220"/>
                  <a:gd name="T6" fmla="*/ 4 w 120"/>
                  <a:gd name="T7" fmla="*/ 67 h 220"/>
                  <a:gd name="T8" fmla="*/ 49 w 120"/>
                  <a:gd name="T9" fmla="*/ 42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0" h="220">
                    <a:moveTo>
                      <a:pt x="49" y="42"/>
                    </a:moveTo>
                    <a:cubicBezTo>
                      <a:pt x="49" y="42"/>
                      <a:pt x="86" y="153"/>
                      <a:pt x="103" y="186"/>
                    </a:cubicBezTo>
                    <a:cubicBezTo>
                      <a:pt x="120" y="220"/>
                      <a:pt x="61" y="217"/>
                      <a:pt x="61" y="217"/>
                    </a:cubicBezTo>
                    <a:cubicBezTo>
                      <a:pt x="61" y="217"/>
                      <a:pt x="7" y="98"/>
                      <a:pt x="4" y="67"/>
                    </a:cubicBezTo>
                    <a:cubicBezTo>
                      <a:pt x="0" y="37"/>
                      <a:pt x="34" y="0"/>
                      <a:pt x="49" y="42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37" name="Freeform 82">
                <a:extLst>
                  <a:ext uri="{FF2B5EF4-FFF2-40B4-BE49-F238E27FC236}">
                    <a16:creationId xmlns:a16="http://schemas.microsoft.com/office/drawing/2014/main" id="{2E15BD1D-2F3F-47F1-91D5-CBEFD02CD8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1498" y="2294872"/>
                <a:ext cx="411162" cy="230188"/>
              </a:xfrm>
              <a:custGeom>
                <a:avLst/>
                <a:gdLst>
                  <a:gd name="T0" fmla="*/ 9 w 165"/>
                  <a:gd name="T1" fmla="*/ 29 h 92"/>
                  <a:gd name="T2" fmla="*/ 96 w 165"/>
                  <a:gd name="T3" fmla="*/ 88 h 92"/>
                  <a:gd name="T4" fmla="*/ 129 w 165"/>
                  <a:gd name="T5" fmla="*/ 14 h 92"/>
                  <a:gd name="T6" fmla="*/ 87 w 165"/>
                  <a:gd name="T7" fmla="*/ 5 h 92"/>
                  <a:gd name="T8" fmla="*/ 9 w 165"/>
                  <a:gd name="T9" fmla="*/ 2 h 92"/>
                  <a:gd name="T10" fmla="*/ 9 w 165"/>
                  <a:gd name="T11" fmla="*/ 2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5" h="92">
                    <a:moveTo>
                      <a:pt x="9" y="29"/>
                    </a:moveTo>
                    <a:cubicBezTo>
                      <a:pt x="20" y="49"/>
                      <a:pt x="67" y="92"/>
                      <a:pt x="96" y="88"/>
                    </a:cubicBezTo>
                    <a:cubicBezTo>
                      <a:pt x="126" y="84"/>
                      <a:pt x="165" y="66"/>
                      <a:pt x="129" y="14"/>
                    </a:cubicBezTo>
                    <a:cubicBezTo>
                      <a:pt x="115" y="11"/>
                      <a:pt x="101" y="7"/>
                      <a:pt x="87" y="5"/>
                    </a:cubicBezTo>
                    <a:cubicBezTo>
                      <a:pt x="62" y="0"/>
                      <a:pt x="34" y="0"/>
                      <a:pt x="9" y="2"/>
                    </a:cubicBezTo>
                    <a:cubicBezTo>
                      <a:pt x="7" y="4"/>
                      <a:pt x="0" y="12"/>
                      <a:pt x="9" y="29"/>
                    </a:cubicBezTo>
                  </a:path>
                </a:pathLst>
              </a:custGeom>
              <a:solidFill>
                <a:srgbClr val="506A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38" name="Freeform 83">
                <a:extLst>
                  <a:ext uri="{FF2B5EF4-FFF2-40B4-BE49-F238E27FC236}">
                    <a16:creationId xmlns:a16="http://schemas.microsoft.com/office/drawing/2014/main" id="{494227BE-682D-495A-8F61-4624F88502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4786" y="2299634"/>
                <a:ext cx="931862" cy="1235075"/>
              </a:xfrm>
              <a:custGeom>
                <a:avLst/>
                <a:gdLst>
                  <a:gd name="T0" fmla="*/ 338 w 374"/>
                  <a:gd name="T1" fmla="*/ 35 h 495"/>
                  <a:gd name="T2" fmla="*/ 276 w 374"/>
                  <a:gd name="T3" fmla="*/ 12 h 495"/>
                  <a:gd name="T4" fmla="*/ 243 w 374"/>
                  <a:gd name="T5" fmla="*/ 86 h 495"/>
                  <a:gd name="T6" fmla="*/ 156 w 374"/>
                  <a:gd name="T7" fmla="*/ 27 h 495"/>
                  <a:gd name="T8" fmla="*/ 156 w 374"/>
                  <a:gd name="T9" fmla="*/ 0 h 495"/>
                  <a:gd name="T10" fmla="*/ 75 w 374"/>
                  <a:gd name="T11" fmla="*/ 15 h 495"/>
                  <a:gd name="T12" fmla="*/ 6 w 374"/>
                  <a:gd name="T13" fmla="*/ 170 h 495"/>
                  <a:gd name="T14" fmla="*/ 86 w 374"/>
                  <a:gd name="T15" fmla="*/ 207 h 495"/>
                  <a:gd name="T16" fmla="*/ 68 w 374"/>
                  <a:gd name="T17" fmla="*/ 332 h 495"/>
                  <a:gd name="T18" fmla="*/ 86 w 374"/>
                  <a:gd name="T19" fmla="*/ 495 h 495"/>
                  <a:gd name="T20" fmla="*/ 325 w 374"/>
                  <a:gd name="T21" fmla="*/ 458 h 495"/>
                  <a:gd name="T22" fmla="*/ 288 w 374"/>
                  <a:gd name="T23" fmla="*/ 359 h 495"/>
                  <a:gd name="T24" fmla="*/ 326 w 374"/>
                  <a:gd name="T25" fmla="*/ 174 h 495"/>
                  <a:gd name="T26" fmla="*/ 374 w 374"/>
                  <a:gd name="T27" fmla="*/ 165 h 495"/>
                  <a:gd name="T28" fmla="*/ 338 w 374"/>
                  <a:gd name="T29" fmla="*/ 35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74" h="495">
                    <a:moveTo>
                      <a:pt x="338" y="35"/>
                    </a:moveTo>
                    <a:cubicBezTo>
                      <a:pt x="334" y="29"/>
                      <a:pt x="307" y="20"/>
                      <a:pt x="276" y="12"/>
                    </a:cubicBezTo>
                    <a:cubicBezTo>
                      <a:pt x="312" y="64"/>
                      <a:pt x="273" y="82"/>
                      <a:pt x="243" y="86"/>
                    </a:cubicBezTo>
                    <a:cubicBezTo>
                      <a:pt x="214" y="90"/>
                      <a:pt x="167" y="47"/>
                      <a:pt x="156" y="27"/>
                    </a:cubicBezTo>
                    <a:cubicBezTo>
                      <a:pt x="147" y="10"/>
                      <a:pt x="154" y="2"/>
                      <a:pt x="156" y="0"/>
                    </a:cubicBezTo>
                    <a:cubicBezTo>
                      <a:pt x="111" y="4"/>
                      <a:pt x="75" y="15"/>
                      <a:pt x="75" y="15"/>
                    </a:cubicBezTo>
                    <a:cubicBezTo>
                      <a:pt x="62" y="24"/>
                      <a:pt x="0" y="164"/>
                      <a:pt x="6" y="170"/>
                    </a:cubicBezTo>
                    <a:cubicBezTo>
                      <a:pt x="16" y="183"/>
                      <a:pt x="86" y="207"/>
                      <a:pt x="86" y="207"/>
                    </a:cubicBezTo>
                    <a:cubicBezTo>
                      <a:pt x="86" y="207"/>
                      <a:pt x="61" y="287"/>
                      <a:pt x="68" y="332"/>
                    </a:cubicBezTo>
                    <a:cubicBezTo>
                      <a:pt x="71" y="351"/>
                      <a:pt x="86" y="495"/>
                      <a:pt x="86" y="495"/>
                    </a:cubicBezTo>
                    <a:cubicBezTo>
                      <a:pt x="162" y="430"/>
                      <a:pt x="325" y="458"/>
                      <a:pt x="325" y="458"/>
                    </a:cubicBezTo>
                    <a:cubicBezTo>
                      <a:pt x="325" y="458"/>
                      <a:pt x="292" y="386"/>
                      <a:pt x="288" y="359"/>
                    </a:cubicBezTo>
                    <a:cubicBezTo>
                      <a:pt x="284" y="333"/>
                      <a:pt x="326" y="174"/>
                      <a:pt x="326" y="174"/>
                    </a:cubicBezTo>
                    <a:cubicBezTo>
                      <a:pt x="326" y="174"/>
                      <a:pt x="374" y="179"/>
                      <a:pt x="374" y="165"/>
                    </a:cubicBezTo>
                    <a:cubicBezTo>
                      <a:pt x="374" y="151"/>
                      <a:pt x="345" y="42"/>
                      <a:pt x="338" y="35"/>
                    </a:cubicBezTo>
                  </a:path>
                </a:pathLst>
              </a:custGeom>
              <a:solidFill>
                <a:srgbClr val="4056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39" name="Freeform 84">
                <a:extLst>
                  <a:ext uri="{FF2B5EF4-FFF2-40B4-BE49-F238E27FC236}">
                    <a16:creationId xmlns:a16="http://schemas.microsoft.com/office/drawing/2014/main" id="{9A839EDE-318E-43E0-93D6-BD9A10D207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0711" y="2091672"/>
                <a:ext cx="319087" cy="393700"/>
              </a:xfrm>
              <a:custGeom>
                <a:avLst/>
                <a:gdLst>
                  <a:gd name="T0" fmla="*/ 128 w 128"/>
                  <a:gd name="T1" fmla="*/ 63 h 158"/>
                  <a:gd name="T2" fmla="*/ 97 w 128"/>
                  <a:gd name="T3" fmla="*/ 106 h 158"/>
                  <a:gd name="T4" fmla="*/ 84 w 128"/>
                  <a:gd name="T5" fmla="*/ 149 h 158"/>
                  <a:gd name="T6" fmla="*/ 6 w 128"/>
                  <a:gd name="T7" fmla="*/ 87 h 158"/>
                  <a:gd name="T8" fmla="*/ 52 w 128"/>
                  <a:gd name="T9" fmla="*/ 79 h 158"/>
                  <a:gd name="T10" fmla="*/ 67 w 128"/>
                  <a:gd name="T11" fmla="*/ 21 h 158"/>
                  <a:gd name="T12" fmla="*/ 128 w 128"/>
                  <a:gd name="T13" fmla="*/ 63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8" h="158">
                    <a:moveTo>
                      <a:pt x="128" y="63"/>
                    </a:moveTo>
                    <a:cubicBezTo>
                      <a:pt x="128" y="63"/>
                      <a:pt x="104" y="89"/>
                      <a:pt x="97" y="106"/>
                    </a:cubicBezTo>
                    <a:cubicBezTo>
                      <a:pt x="97" y="106"/>
                      <a:pt x="126" y="140"/>
                      <a:pt x="84" y="149"/>
                    </a:cubicBezTo>
                    <a:cubicBezTo>
                      <a:pt x="42" y="158"/>
                      <a:pt x="0" y="102"/>
                      <a:pt x="6" y="87"/>
                    </a:cubicBezTo>
                    <a:cubicBezTo>
                      <a:pt x="6" y="87"/>
                      <a:pt x="42" y="84"/>
                      <a:pt x="52" y="79"/>
                    </a:cubicBezTo>
                    <a:cubicBezTo>
                      <a:pt x="62" y="74"/>
                      <a:pt x="67" y="21"/>
                      <a:pt x="67" y="21"/>
                    </a:cubicBezTo>
                    <a:cubicBezTo>
                      <a:pt x="67" y="21"/>
                      <a:pt x="109" y="0"/>
                      <a:pt x="128" y="63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40" name="Freeform 85">
                <a:extLst>
                  <a:ext uri="{FF2B5EF4-FFF2-40B4-BE49-F238E27FC236}">
                    <a16:creationId xmlns:a16="http://schemas.microsoft.com/office/drawing/2014/main" id="{8B6A8202-8C9B-40CD-A12F-8595637A85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5411" y="2736197"/>
                <a:ext cx="704850" cy="466725"/>
              </a:xfrm>
              <a:custGeom>
                <a:avLst/>
                <a:gdLst>
                  <a:gd name="T0" fmla="*/ 108 w 283"/>
                  <a:gd name="T1" fmla="*/ 29 h 187"/>
                  <a:gd name="T2" fmla="*/ 87 w 283"/>
                  <a:gd name="T3" fmla="*/ 115 h 187"/>
                  <a:gd name="T4" fmla="*/ 260 w 283"/>
                  <a:gd name="T5" fmla="*/ 135 h 187"/>
                  <a:gd name="T6" fmla="*/ 255 w 283"/>
                  <a:gd name="T7" fmla="*/ 177 h 187"/>
                  <a:gd name="T8" fmla="*/ 16 w 283"/>
                  <a:gd name="T9" fmla="*/ 173 h 187"/>
                  <a:gd name="T10" fmla="*/ 43 w 283"/>
                  <a:gd name="T11" fmla="*/ 0 h 187"/>
                  <a:gd name="T12" fmla="*/ 108 w 283"/>
                  <a:gd name="T13" fmla="*/ 29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3" h="187">
                    <a:moveTo>
                      <a:pt x="108" y="29"/>
                    </a:moveTo>
                    <a:cubicBezTo>
                      <a:pt x="108" y="29"/>
                      <a:pt x="83" y="104"/>
                      <a:pt x="87" y="115"/>
                    </a:cubicBezTo>
                    <a:cubicBezTo>
                      <a:pt x="91" y="125"/>
                      <a:pt x="237" y="136"/>
                      <a:pt x="260" y="135"/>
                    </a:cubicBezTo>
                    <a:cubicBezTo>
                      <a:pt x="283" y="134"/>
                      <a:pt x="279" y="172"/>
                      <a:pt x="255" y="177"/>
                    </a:cubicBezTo>
                    <a:cubicBezTo>
                      <a:pt x="231" y="182"/>
                      <a:pt x="33" y="187"/>
                      <a:pt x="16" y="173"/>
                    </a:cubicBezTo>
                    <a:cubicBezTo>
                      <a:pt x="0" y="159"/>
                      <a:pt x="38" y="13"/>
                      <a:pt x="43" y="0"/>
                    </a:cubicBezTo>
                    <a:cubicBezTo>
                      <a:pt x="68" y="12"/>
                      <a:pt x="75" y="14"/>
                      <a:pt x="108" y="29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41" name="Freeform 86">
                <a:extLst>
                  <a:ext uri="{FF2B5EF4-FFF2-40B4-BE49-F238E27FC236}">
                    <a16:creationId xmlns:a16="http://schemas.microsoft.com/office/drawing/2014/main" id="{B1CFE728-81AC-4CCA-9866-D1FFE7E4EB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3761" y="2928284"/>
                <a:ext cx="201612" cy="144463"/>
              </a:xfrm>
              <a:custGeom>
                <a:avLst/>
                <a:gdLst>
                  <a:gd name="T0" fmla="*/ 0 w 81"/>
                  <a:gd name="T1" fmla="*/ 42 h 58"/>
                  <a:gd name="T2" fmla="*/ 29 w 81"/>
                  <a:gd name="T3" fmla="*/ 8 h 58"/>
                  <a:gd name="T4" fmla="*/ 50 w 81"/>
                  <a:gd name="T5" fmla="*/ 0 h 58"/>
                  <a:gd name="T6" fmla="*/ 67 w 81"/>
                  <a:gd name="T7" fmla="*/ 17 h 58"/>
                  <a:gd name="T8" fmla="*/ 67 w 81"/>
                  <a:gd name="T9" fmla="*/ 53 h 58"/>
                  <a:gd name="T10" fmla="*/ 37 w 81"/>
                  <a:gd name="T11" fmla="*/ 31 h 58"/>
                  <a:gd name="T12" fmla="*/ 21 w 81"/>
                  <a:gd name="T13" fmla="*/ 45 h 58"/>
                  <a:gd name="T14" fmla="*/ 0 w 81"/>
                  <a:gd name="T15" fmla="*/ 42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1" h="58">
                    <a:moveTo>
                      <a:pt x="0" y="42"/>
                    </a:moveTo>
                    <a:cubicBezTo>
                      <a:pt x="0" y="42"/>
                      <a:pt x="21" y="15"/>
                      <a:pt x="29" y="8"/>
                    </a:cubicBezTo>
                    <a:cubicBezTo>
                      <a:pt x="37" y="1"/>
                      <a:pt x="50" y="0"/>
                      <a:pt x="50" y="0"/>
                    </a:cubicBezTo>
                    <a:cubicBezTo>
                      <a:pt x="50" y="0"/>
                      <a:pt x="65" y="9"/>
                      <a:pt x="67" y="17"/>
                    </a:cubicBezTo>
                    <a:cubicBezTo>
                      <a:pt x="70" y="25"/>
                      <a:pt x="81" y="48"/>
                      <a:pt x="67" y="53"/>
                    </a:cubicBezTo>
                    <a:cubicBezTo>
                      <a:pt x="54" y="58"/>
                      <a:pt x="37" y="31"/>
                      <a:pt x="37" y="31"/>
                    </a:cubicBezTo>
                    <a:cubicBezTo>
                      <a:pt x="37" y="31"/>
                      <a:pt x="24" y="38"/>
                      <a:pt x="21" y="45"/>
                    </a:cubicBezTo>
                    <a:cubicBezTo>
                      <a:pt x="17" y="51"/>
                      <a:pt x="0" y="42"/>
                      <a:pt x="0" y="42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42" name="Freeform 87">
                <a:extLst>
                  <a:ext uri="{FF2B5EF4-FFF2-40B4-BE49-F238E27FC236}">
                    <a16:creationId xmlns:a16="http://schemas.microsoft.com/office/drawing/2014/main" id="{CA11F992-9B8A-42D5-B41E-9F874E8271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823" y="3036234"/>
                <a:ext cx="363537" cy="115888"/>
              </a:xfrm>
              <a:custGeom>
                <a:avLst/>
                <a:gdLst>
                  <a:gd name="T0" fmla="*/ 0 w 146"/>
                  <a:gd name="T1" fmla="*/ 27 h 47"/>
                  <a:gd name="T2" fmla="*/ 78 w 146"/>
                  <a:gd name="T3" fmla="*/ 6 h 47"/>
                  <a:gd name="T4" fmla="*/ 125 w 146"/>
                  <a:gd name="T5" fmla="*/ 16 h 47"/>
                  <a:gd name="T6" fmla="*/ 145 w 146"/>
                  <a:gd name="T7" fmla="*/ 27 h 47"/>
                  <a:gd name="T8" fmla="*/ 0 w 146"/>
                  <a:gd name="T9" fmla="*/ 2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47">
                    <a:moveTo>
                      <a:pt x="0" y="27"/>
                    </a:moveTo>
                    <a:cubicBezTo>
                      <a:pt x="0" y="27"/>
                      <a:pt x="62" y="0"/>
                      <a:pt x="78" y="6"/>
                    </a:cubicBezTo>
                    <a:cubicBezTo>
                      <a:pt x="95" y="12"/>
                      <a:pt x="114" y="15"/>
                      <a:pt x="125" y="16"/>
                    </a:cubicBezTo>
                    <a:cubicBezTo>
                      <a:pt x="135" y="17"/>
                      <a:pt x="143" y="28"/>
                      <a:pt x="145" y="27"/>
                    </a:cubicBezTo>
                    <a:cubicBezTo>
                      <a:pt x="146" y="25"/>
                      <a:pt x="21" y="47"/>
                      <a:pt x="0" y="27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43" name="Freeform 88">
                <a:extLst>
                  <a:ext uri="{FF2B5EF4-FFF2-40B4-BE49-F238E27FC236}">
                    <a16:creationId xmlns:a16="http://schemas.microsoft.com/office/drawing/2014/main" id="{273793E5-584B-44F3-9E21-4B8E56BCAC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3111" y="2983847"/>
                <a:ext cx="223837" cy="133350"/>
              </a:xfrm>
              <a:custGeom>
                <a:avLst/>
                <a:gdLst>
                  <a:gd name="T0" fmla="*/ 0 w 90"/>
                  <a:gd name="T1" fmla="*/ 36 h 54"/>
                  <a:gd name="T2" fmla="*/ 41 w 90"/>
                  <a:gd name="T3" fmla="*/ 24 h 54"/>
                  <a:gd name="T4" fmla="*/ 77 w 90"/>
                  <a:gd name="T5" fmla="*/ 2 h 54"/>
                  <a:gd name="T6" fmla="*/ 89 w 90"/>
                  <a:gd name="T7" fmla="*/ 29 h 54"/>
                  <a:gd name="T8" fmla="*/ 72 w 90"/>
                  <a:gd name="T9" fmla="*/ 51 h 54"/>
                  <a:gd name="T10" fmla="*/ 63 w 90"/>
                  <a:gd name="T11" fmla="*/ 34 h 54"/>
                  <a:gd name="T12" fmla="*/ 12 w 90"/>
                  <a:gd name="T13" fmla="*/ 51 h 54"/>
                  <a:gd name="T14" fmla="*/ 0 w 90"/>
                  <a:gd name="T15" fmla="*/ 36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0" h="54">
                    <a:moveTo>
                      <a:pt x="0" y="36"/>
                    </a:moveTo>
                    <a:cubicBezTo>
                      <a:pt x="4" y="36"/>
                      <a:pt x="32" y="29"/>
                      <a:pt x="41" y="24"/>
                    </a:cubicBezTo>
                    <a:cubicBezTo>
                      <a:pt x="50" y="19"/>
                      <a:pt x="71" y="0"/>
                      <a:pt x="77" y="2"/>
                    </a:cubicBezTo>
                    <a:cubicBezTo>
                      <a:pt x="82" y="4"/>
                      <a:pt x="87" y="13"/>
                      <a:pt x="89" y="29"/>
                    </a:cubicBezTo>
                    <a:cubicBezTo>
                      <a:pt x="90" y="45"/>
                      <a:pt x="82" y="54"/>
                      <a:pt x="72" y="51"/>
                    </a:cubicBezTo>
                    <a:cubicBezTo>
                      <a:pt x="61" y="47"/>
                      <a:pt x="63" y="34"/>
                      <a:pt x="63" y="34"/>
                    </a:cubicBezTo>
                    <a:cubicBezTo>
                      <a:pt x="63" y="34"/>
                      <a:pt x="25" y="54"/>
                      <a:pt x="12" y="51"/>
                    </a:cubicBezTo>
                    <a:cubicBezTo>
                      <a:pt x="0" y="49"/>
                      <a:pt x="0" y="36"/>
                      <a:pt x="0" y="36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44" name="Freeform 89">
                <a:extLst>
                  <a:ext uri="{FF2B5EF4-FFF2-40B4-BE49-F238E27FC236}">
                    <a16:creationId xmlns:a16="http://schemas.microsoft.com/office/drawing/2014/main" id="{C7D1EB80-79B9-4F4B-B8D0-FCC28AB81A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0398" y="2526647"/>
                <a:ext cx="1468437" cy="676275"/>
              </a:xfrm>
              <a:custGeom>
                <a:avLst/>
                <a:gdLst>
                  <a:gd name="T0" fmla="*/ 1 w 589"/>
                  <a:gd name="T1" fmla="*/ 266 h 271"/>
                  <a:gd name="T2" fmla="*/ 1 w 589"/>
                  <a:gd name="T3" fmla="*/ 247 h 271"/>
                  <a:gd name="T4" fmla="*/ 16 w 589"/>
                  <a:gd name="T5" fmla="*/ 232 h 271"/>
                  <a:gd name="T6" fmla="*/ 217 w 589"/>
                  <a:gd name="T7" fmla="*/ 223 h 271"/>
                  <a:gd name="T8" fmla="*/ 300 w 589"/>
                  <a:gd name="T9" fmla="*/ 0 h 271"/>
                  <a:gd name="T10" fmla="*/ 589 w 589"/>
                  <a:gd name="T11" fmla="*/ 19 h 271"/>
                  <a:gd name="T12" fmla="*/ 523 w 589"/>
                  <a:gd name="T13" fmla="*/ 235 h 271"/>
                  <a:gd name="T14" fmla="*/ 523 w 589"/>
                  <a:gd name="T15" fmla="*/ 266 h 271"/>
                  <a:gd name="T16" fmla="*/ 203 w 589"/>
                  <a:gd name="T17" fmla="*/ 266 h 271"/>
                  <a:gd name="T18" fmla="*/ 1 w 589"/>
                  <a:gd name="T19" fmla="*/ 266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9" h="271">
                    <a:moveTo>
                      <a:pt x="1" y="266"/>
                    </a:moveTo>
                    <a:cubicBezTo>
                      <a:pt x="1" y="266"/>
                      <a:pt x="0" y="251"/>
                      <a:pt x="1" y="247"/>
                    </a:cubicBezTo>
                    <a:cubicBezTo>
                      <a:pt x="2" y="242"/>
                      <a:pt x="16" y="232"/>
                      <a:pt x="16" y="232"/>
                    </a:cubicBezTo>
                    <a:cubicBezTo>
                      <a:pt x="16" y="232"/>
                      <a:pt x="191" y="225"/>
                      <a:pt x="217" y="223"/>
                    </a:cubicBezTo>
                    <a:cubicBezTo>
                      <a:pt x="217" y="223"/>
                      <a:pt x="289" y="11"/>
                      <a:pt x="300" y="0"/>
                    </a:cubicBezTo>
                    <a:cubicBezTo>
                      <a:pt x="300" y="0"/>
                      <a:pt x="544" y="10"/>
                      <a:pt x="589" y="19"/>
                    </a:cubicBezTo>
                    <a:cubicBezTo>
                      <a:pt x="523" y="235"/>
                      <a:pt x="523" y="235"/>
                      <a:pt x="523" y="235"/>
                    </a:cubicBezTo>
                    <a:cubicBezTo>
                      <a:pt x="523" y="266"/>
                      <a:pt x="523" y="266"/>
                      <a:pt x="523" y="266"/>
                    </a:cubicBezTo>
                    <a:cubicBezTo>
                      <a:pt x="523" y="266"/>
                      <a:pt x="225" y="271"/>
                      <a:pt x="203" y="266"/>
                    </a:cubicBezTo>
                    <a:lnTo>
                      <a:pt x="1" y="266"/>
                    </a:lnTo>
                    <a:close/>
                  </a:path>
                </a:pathLst>
              </a:custGeom>
              <a:solidFill>
                <a:srgbClr val="CFD7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45" name="Freeform 90">
                <a:extLst>
                  <a:ext uri="{FF2B5EF4-FFF2-40B4-BE49-F238E27FC236}">
                    <a16:creationId xmlns:a16="http://schemas.microsoft.com/office/drawing/2014/main" id="{72AB9839-A7AB-4A8B-93C0-ABD278BAE5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1736" y="2526647"/>
                <a:ext cx="266700" cy="568325"/>
              </a:xfrm>
              <a:custGeom>
                <a:avLst/>
                <a:gdLst>
                  <a:gd name="T0" fmla="*/ 83 w 107"/>
                  <a:gd name="T1" fmla="*/ 0 h 228"/>
                  <a:gd name="T2" fmla="*/ 106 w 107"/>
                  <a:gd name="T3" fmla="*/ 9 h 228"/>
                  <a:gd name="T4" fmla="*/ 29 w 107"/>
                  <a:gd name="T5" fmla="*/ 224 h 228"/>
                  <a:gd name="T6" fmla="*/ 0 w 107"/>
                  <a:gd name="T7" fmla="*/ 223 h 228"/>
                  <a:gd name="T8" fmla="*/ 83 w 107"/>
                  <a:gd name="T9" fmla="*/ 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228">
                    <a:moveTo>
                      <a:pt x="83" y="0"/>
                    </a:moveTo>
                    <a:cubicBezTo>
                      <a:pt x="83" y="0"/>
                      <a:pt x="105" y="1"/>
                      <a:pt x="106" y="9"/>
                    </a:cubicBezTo>
                    <a:cubicBezTo>
                      <a:pt x="107" y="16"/>
                      <a:pt x="33" y="221"/>
                      <a:pt x="29" y="224"/>
                    </a:cubicBezTo>
                    <a:cubicBezTo>
                      <a:pt x="24" y="228"/>
                      <a:pt x="0" y="223"/>
                      <a:pt x="0" y="223"/>
                    </a:cubicBezTo>
                    <a:cubicBezTo>
                      <a:pt x="0" y="223"/>
                      <a:pt x="72" y="12"/>
                      <a:pt x="83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46" name="Freeform 91">
                <a:extLst>
                  <a:ext uri="{FF2B5EF4-FFF2-40B4-BE49-F238E27FC236}">
                    <a16:creationId xmlns:a16="http://schemas.microsoft.com/office/drawing/2014/main" id="{9FA3F5FF-D946-4FE9-93BC-A15E0CCDEC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7223" y="2367897"/>
                <a:ext cx="42862" cy="88900"/>
              </a:xfrm>
              <a:custGeom>
                <a:avLst/>
                <a:gdLst>
                  <a:gd name="T0" fmla="*/ 16 w 17"/>
                  <a:gd name="T1" fmla="*/ 27 h 36"/>
                  <a:gd name="T2" fmla="*/ 9 w 17"/>
                  <a:gd name="T3" fmla="*/ 4 h 36"/>
                  <a:gd name="T4" fmla="*/ 1 w 17"/>
                  <a:gd name="T5" fmla="*/ 7 h 36"/>
                  <a:gd name="T6" fmla="*/ 8 w 17"/>
                  <a:gd name="T7" fmla="*/ 31 h 36"/>
                  <a:gd name="T8" fmla="*/ 16 w 17"/>
                  <a:gd name="T9" fmla="*/ 27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36">
                    <a:moveTo>
                      <a:pt x="16" y="27"/>
                    </a:moveTo>
                    <a:cubicBezTo>
                      <a:pt x="15" y="19"/>
                      <a:pt x="13" y="11"/>
                      <a:pt x="9" y="4"/>
                    </a:cubicBezTo>
                    <a:cubicBezTo>
                      <a:pt x="7" y="0"/>
                      <a:pt x="0" y="3"/>
                      <a:pt x="1" y="7"/>
                    </a:cubicBezTo>
                    <a:cubicBezTo>
                      <a:pt x="2" y="16"/>
                      <a:pt x="4" y="24"/>
                      <a:pt x="8" y="31"/>
                    </a:cubicBezTo>
                    <a:cubicBezTo>
                      <a:pt x="11" y="36"/>
                      <a:pt x="17" y="31"/>
                      <a:pt x="16" y="2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47" name="Freeform 92">
                <a:extLst>
                  <a:ext uri="{FF2B5EF4-FFF2-40B4-BE49-F238E27FC236}">
                    <a16:creationId xmlns:a16="http://schemas.microsoft.com/office/drawing/2014/main" id="{92560AC6-961E-4B2C-8BF9-0B027B15E4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7561" y="2364722"/>
                <a:ext cx="34925" cy="90488"/>
              </a:xfrm>
              <a:custGeom>
                <a:avLst/>
                <a:gdLst>
                  <a:gd name="T0" fmla="*/ 5 w 14"/>
                  <a:gd name="T1" fmla="*/ 6 h 36"/>
                  <a:gd name="T2" fmla="*/ 1 w 14"/>
                  <a:gd name="T3" fmla="*/ 28 h 36"/>
                  <a:gd name="T4" fmla="*/ 10 w 14"/>
                  <a:gd name="T5" fmla="*/ 30 h 36"/>
                  <a:gd name="T6" fmla="*/ 14 w 14"/>
                  <a:gd name="T7" fmla="*/ 7 h 36"/>
                  <a:gd name="T8" fmla="*/ 5 w 14"/>
                  <a:gd name="T9" fmla="*/ 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36">
                    <a:moveTo>
                      <a:pt x="5" y="6"/>
                    </a:moveTo>
                    <a:cubicBezTo>
                      <a:pt x="3" y="13"/>
                      <a:pt x="2" y="21"/>
                      <a:pt x="1" y="28"/>
                    </a:cubicBezTo>
                    <a:cubicBezTo>
                      <a:pt x="0" y="34"/>
                      <a:pt x="9" y="36"/>
                      <a:pt x="10" y="30"/>
                    </a:cubicBezTo>
                    <a:cubicBezTo>
                      <a:pt x="11" y="23"/>
                      <a:pt x="13" y="15"/>
                      <a:pt x="14" y="7"/>
                    </a:cubicBezTo>
                    <a:cubicBezTo>
                      <a:pt x="14" y="2"/>
                      <a:pt x="7" y="0"/>
                      <a:pt x="5" y="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48" name="Freeform 93">
                <a:extLst>
                  <a:ext uri="{FF2B5EF4-FFF2-40B4-BE49-F238E27FC236}">
                    <a16:creationId xmlns:a16="http://schemas.microsoft.com/office/drawing/2014/main" id="{BCB26728-7801-4D24-8B49-A728C64F20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4561" y="2461559"/>
                <a:ext cx="79375" cy="65088"/>
              </a:xfrm>
              <a:custGeom>
                <a:avLst/>
                <a:gdLst>
                  <a:gd name="T0" fmla="*/ 25 w 32"/>
                  <a:gd name="T1" fmla="*/ 2 h 26"/>
                  <a:gd name="T2" fmla="*/ 15 w 32"/>
                  <a:gd name="T3" fmla="*/ 9 h 26"/>
                  <a:gd name="T4" fmla="*/ 5 w 32"/>
                  <a:gd name="T5" fmla="*/ 16 h 26"/>
                  <a:gd name="T6" fmla="*/ 9 w 32"/>
                  <a:gd name="T7" fmla="*/ 24 h 26"/>
                  <a:gd name="T8" fmla="*/ 20 w 32"/>
                  <a:gd name="T9" fmla="*/ 19 h 26"/>
                  <a:gd name="T10" fmla="*/ 31 w 32"/>
                  <a:gd name="T11" fmla="*/ 8 h 26"/>
                  <a:gd name="T12" fmla="*/ 25 w 32"/>
                  <a:gd name="T13" fmla="*/ 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26">
                    <a:moveTo>
                      <a:pt x="25" y="2"/>
                    </a:moveTo>
                    <a:cubicBezTo>
                      <a:pt x="21" y="3"/>
                      <a:pt x="18" y="6"/>
                      <a:pt x="15" y="9"/>
                    </a:cubicBezTo>
                    <a:cubicBezTo>
                      <a:pt x="12" y="11"/>
                      <a:pt x="8" y="13"/>
                      <a:pt x="5" y="16"/>
                    </a:cubicBezTo>
                    <a:cubicBezTo>
                      <a:pt x="0" y="19"/>
                      <a:pt x="4" y="26"/>
                      <a:pt x="9" y="24"/>
                    </a:cubicBezTo>
                    <a:cubicBezTo>
                      <a:pt x="13" y="23"/>
                      <a:pt x="17" y="21"/>
                      <a:pt x="20" y="19"/>
                    </a:cubicBezTo>
                    <a:cubicBezTo>
                      <a:pt x="24" y="16"/>
                      <a:pt x="29" y="13"/>
                      <a:pt x="31" y="8"/>
                    </a:cubicBezTo>
                    <a:cubicBezTo>
                      <a:pt x="32" y="5"/>
                      <a:pt x="29" y="0"/>
                      <a:pt x="25" y="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49" name="Freeform 94">
                <a:extLst>
                  <a:ext uri="{FF2B5EF4-FFF2-40B4-BE49-F238E27FC236}">
                    <a16:creationId xmlns:a16="http://schemas.microsoft.com/office/drawing/2014/main" id="{C3FC2FCD-0282-4046-9793-2BB4626FCB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1073" y="2629834"/>
                <a:ext cx="76200" cy="41275"/>
              </a:xfrm>
              <a:custGeom>
                <a:avLst/>
                <a:gdLst>
                  <a:gd name="T0" fmla="*/ 26 w 30"/>
                  <a:gd name="T1" fmla="*/ 8 h 17"/>
                  <a:gd name="T2" fmla="*/ 6 w 30"/>
                  <a:gd name="T3" fmla="*/ 1 h 17"/>
                  <a:gd name="T4" fmla="*/ 5 w 30"/>
                  <a:gd name="T5" fmla="*/ 11 h 17"/>
                  <a:gd name="T6" fmla="*/ 13 w 30"/>
                  <a:gd name="T7" fmla="*/ 13 h 17"/>
                  <a:gd name="T8" fmla="*/ 23 w 30"/>
                  <a:gd name="T9" fmla="*/ 16 h 17"/>
                  <a:gd name="T10" fmla="*/ 26 w 30"/>
                  <a:gd name="T11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17">
                    <a:moveTo>
                      <a:pt x="26" y="8"/>
                    </a:moveTo>
                    <a:cubicBezTo>
                      <a:pt x="21" y="3"/>
                      <a:pt x="12" y="0"/>
                      <a:pt x="6" y="1"/>
                    </a:cubicBezTo>
                    <a:cubicBezTo>
                      <a:pt x="0" y="2"/>
                      <a:pt x="0" y="10"/>
                      <a:pt x="5" y="11"/>
                    </a:cubicBezTo>
                    <a:cubicBezTo>
                      <a:pt x="8" y="12"/>
                      <a:pt x="11" y="12"/>
                      <a:pt x="13" y="13"/>
                    </a:cubicBezTo>
                    <a:cubicBezTo>
                      <a:pt x="16" y="14"/>
                      <a:pt x="19" y="15"/>
                      <a:pt x="23" y="16"/>
                    </a:cubicBezTo>
                    <a:cubicBezTo>
                      <a:pt x="27" y="17"/>
                      <a:pt x="30" y="11"/>
                      <a:pt x="26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50" name="Freeform 95">
                <a:extLst>
                  <a:ext uri="{FF2B5EF4-FFF2-40B4-BE49-F238E27FC236}">
                    <a16:creationId xmlns:a16="http://schemas.microsoft.com/office/drawing/2014/main" id="{41EF097A-7C54-49BF-B958-517CE63712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93461" y="3279122"/>
                <a:ext cx="160337" cy="1870075"/>
              </a:xfrm>
              <a:custGeom>
                <a:avLst/>
                <a:gdLst>
                  <a:gd name="T0" fmla="*/ 50 w 64"/>
                  <a:gd name="T1" fmla="*/ 0 h 750"/>
                  <a:gd name="T2" fmla="*/ 61 w 64"/>
                  <a:gd name="T3" fmla="*/ 711 h 750"/>
                  <a:gd name="T4" fmla="*/ 13 w 64"/>
                  <a:gd name="T5" fmla="*/ 711 h 750"/>
                  <a:gd name="T6" fmla="*/ 0 w 64"/>
                  <a:gd name="T7" fmla="*/ 0 h 750"/>
                  <a:gd name="T8" fmla="*/ 50 w 64"/>
                  <a:gd name="T9" fmla="*/ 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750">
                    <a:moveTo>
                      <a:pt x="50" y="0"/>
                    </a:moveTo>
                    <a:cubicBezTo>
                      <a:pt x="50" y="0"/>
                      <a:pt x="59" y="688"/>
                      <a:pt x="61" y="711"/>
                    </a:cubicBezTo>
                    <a:cubicBezTo>
                      <a:pt x="64" y="734"/>
                      <a:pt x="20" y="750"/>
                      <a:pt x="13" y="711"/>
                    </a:cubicBezTo>
                    <a:cubicBezTo>
                      <a:pt x="5" y="672"/>
                      <a:pt x="0" y="0"/>
                      <a:pt x="0" y="0"/>
                    </a:cubicBez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2A35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51" name="Freeform 96">
                <a:extLst>
                  <a:ext uri="{FF2B5EF4-FFF2-40B4-BE49-F238E27FC236}">
                    <a16:creationId xmlns:a16="http://schemas.microsoft.com/office/drawing/2014/main" id="{93F808B2-08AE-4ABD-A240-62B3DC3429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5384" y="3177520"/>
                <a:ext cx="658813" cy="204789"/>
              </a:xfrm>
              <a:custGeom>
                <a:avLst/>
                <a:gdLst>
                  <a:gd name="T0" fmla="*/ 0 w 415"/>
                  <a:gd name="T1" fmla="*/ 24 h 129"/>
                  <a:gd name="T2" fmla="*/ 415 w 415"/>
                  <a:gd name="T3" fmla="*/ 0 h 129"/>
                  <a:gd name="T4" fmla="*/ 415 w 415"/>
                  <a:gd name="T5" fmla="*/ 129 h 129"/>
                  <a:gd name="T6" fmla="*/ 0 w 415"/>
                  <a:gd name="T7" fmla="*/ 129 h 129"/>
                  <a:gd name="T8" fmla="*/ 0 w 415"/>
                  <a:gd name="T9" fmla="*/ 24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5" h="129">
                    <a:moveTo>
                      <a:pt x="0" y="24"/>
                    </a:moveTo>
                    <a:lnTo>
                      <a:pt x="415" y="0"/>
                    </a:lnTo>
                    <a:lnTo>
                      <a:pt x="415" y="129"/>
                    </a:lnTo>
                    <a:lnTo>
                      <a:pt x="0" y="129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2A35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52" name="Freeform 97">
                <a:extLst>
                  <a:ext uri="{FF2B5EF4-FFF2-40B4-BE49-F238E27FC236}">
                    <a16:creationId xmlns:a16="http://schemas.microsoft.com/office/drawing/2014/main" id="{5526BDD7-9910-47B6-8994-E9AFA8A8CA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4198" y="3177522"/>
                <a:ext cx="1936750" cy="204788"/>
              </a:xfrm>
              <a:custGeom>
                <a:avLst/>
                <a:gdLst>
                  <a:gd name="T0" fmla="*/ 1220 w 1220"/>
                  <a:gd name="T1" fmla="*/ 0 h 129"/>
                  <a:gd name="T2" fmla="*/ 0 w 1220"/>
                  <a:gd name="T3" fmla="*/ 0 h 129"/>
                  <a:gd name="T4" fmla="*/ 0 w 1220"/>
                  <a:gd name="T5" fmla="*/ 129 h 129"/>
                  <a:gd name="T6" fmla="*/ 1220 w 1220"/>
                  <a:gd name="T7" fmla="*/ 99 h 129"/>
                  <a:gd name="T8" fmla="*/ 1220 w 1220"/>
                  <a:gd name="T9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0" h="129">
                    <a:moveTo>
                      <a:pt x="1220" y="0"/>
                    </a:moveTo>
                    <a:lnTo>
                      <a:pt x="0" y="0"/>
                    </a:lnTo>
                    <a:lnTo>
                      <a:pt x="0" y="129"/>
                    </a:lnTo>
                    <a:lnTo>
                      <a:pt x="1220" y="99"/>
                    </a:lnTo>
                    <a:lnTo>
                      <a:pt x="1220" y="0"/>
                    </a:lnTo>
                    <a:close/>
                  </a:path>
                </a:pathLst>
              </a:custGeom>
              <a:solidFill>
                <a:srgbClr val="2A35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 dirty="0"/>
              </a:p>
            </p:txBody>
          </p:sp>
          <p:sp>
            <p:nvSpPr>
              <p:cNvPr id="1053" name="Freeform 98">
                <a:extLst>
                  <a:ext uri="{FF2B5EF4-FFF2-40B4-BE49-F238E27FC236}">
                    <a16:creationId xmlns:a16="http://schemas.microsoft.com/office/drawing/2014/main" id="{663974B4-2CFD-4F1E-99E1-5D720C01F7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0611" y="3334685"/>
                <a:ext cx="234950" cy="1754188"/>
              </a:xfrm>
              <a:custGeom>
                <a:avLst/>
                <a:gdLst>
                  <a:gd name="T0" fmla="*/ 94 w 94"/>
                  <a:gd name="T1" fmla="*/ 0 h 704"/>
                  <a:gd name="T2" fmla="*/ 50 w 94"/>
                  <a:gd name="T3" fmla="*/ 670 h 704"/>
                  <a:gd name="T4" fmla="*/ 7 w 94"/>
                  <a:gd name="T5" fmla="*/ 670 h 704"/>
                  <a:gd name="T6" fmla="*/ 43 w 94"/>
                  <a:gd name="T7" fmla="*/ 0 h 704"/>
                  <a:gd name="T8" fmla="*/ 94 w 94"/>
                  <a:gd name="T9" fmla="*/ 0 h 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" h="704">
                    <a:moveTo>
                      <a:pt x="94" y="0"/>
                    </a:moveTo>
                    <a:cubicBezTo>
                      <a:pt x="94" y="0"/>
                      <a:pt x="50" y="647"/>
                      <a:pt x="50" y="670"/>
                    </a:cubicBezTo>
                    <a:cubicBezTo>
                      <a:pt x="50" y="670"/>
                      <a:pt x="15" y="704"/>
                      <a:pt x="7" y="670"/>
                    </a:cubicBezTo>
                    <a:cubicBezTo>
                      <a:pt x="0" y="636"/>
                      <a:pt x="43" y="0"/>
                      <a:pt x="43" y="0"/>
                    </a:cubicBezTo>
                    <a:lnTo>
                      <a:pt x="94" y="0"/>
                    </a:lnTo>
                    <a:close/>
                  </a:path>
                </a:pathLst>
              </a:custGeom>
              <a:solidFill>
                <a:srgbClr val="2A35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54" name="Freeform 99">
                <a:extLst>
                  <a:ext uri="{FF2B5EF4-FFF2-40B4-BE49-F238E27FC236}">
                    <a16:creationId xmlns:a16="http://schemas.microsoft.com/office/drawing/2014/main" id="{2124A7CE-778E-4C65-9C46-84979E32A3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1486" y="3372785"/>
                <a:ext cx="241300" cy="1806575"/>
              </a:xfrm>
              <a:custGeom>
                <a:avLst/>
                <a:gdLst>
                  <a:gd name="T0" fmla="*/ 45 w 97"/>
                  <a:gd name="T1" fmla="*/ 4 h 725"/>
                  <a:gd name="T2" fmla="*/ 5 w 97"/>
                  <a:gd name="T3" fmla="*/ 701 h 725"/>
                  <a:gd name="T4" fmla="*/ 51 w 97"/>
                  <a:gd name="T5" fmla="*/ 710 h 725"/>
                  <a:gd name="T6" fmla="*/ 97 w 97"/>
                  <a:gd name="T7" fmla="*/ 0 h 725"/>
                  <a:gd name="T8" fmla="*/ 45 w 97"/>
                  <a:gd name="T9" fmla="*/ 4 h 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725">
                    <a:moveTo>
                      <a:pt x="45" y="4"/>
                    </a:moveTo>
                    <a:cubicBezTo>
                      <a:pt x="45" y="4"/>
                      <a:pt x="0" y="686"/>
                      <a:pt x="5" y="701"/>
                    </a:cubicBezTo>
                    <a:cubicBezTo>
                      <a:pt x="9" y="717"/>
                      <a:pt x="44" y="725"/>
                      <a:pt x="51" y="710"/>
                    </a:cubicBezTo>
                    <a:cubicBezTo>
                      <a:pt x="57" y="694"/>
                      <a:pt x="97" y="0"/>
                      <a:pt x="97" y="0"/>
                    </a:cubicBezTo>
                    <a:lnTo>
                      <a:pt x="45" y="4"/>
                    </a:lnTo>
                    <a:close/>
                  </a:path>
                </a:pathLst>
              </a:custGeom>
              <a:solidFill>
                <a:srgbClr val="2A35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55" name="Freeform 100">
                <a:extLst>
                  <a:ext uri="{FF2B5EF4-FFF2-40B4-BE49-F238E27FC236}">
                    <a16:creationId xmlns:a16="http://schemas.microsoft.com/office/drawing/2014/main" id="{5715A330-DB10-4FEE-AD60-7937E2276A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4648" y="1350309"/>
                <a:ext cx="676275" cy="1163638"/>
              </a:xfrm>
              <a:custGeom>
                <a:avLst/>
                <a:gdLst>
                  <a:gd name="T0" fmla="*/ 238 w 271"/>
                  <a:gd name="T1" fmla="*/ 34 h 467"/>
                  <a:gd name="T2" fmla="*/ 187 w 271"/>
                  <a:gd name="T3" fmla="*/ 110 h 467"/>
                  <a:gd name="T4" fmla="*/ 208 w 271"/>
                  <a:gd name="T5" fmla="*/ 467 h 467"/>
                  <a:gd name="T6" fmla="*/ 196 w 271"/>
                  <a:gd name="T7" fmla="*/ 372 h 467"/>
                  <a:gd name="T8" fmla="*/ 230 w 271"/>
                  <a:gd name="T9" fmla="*/ 414 h 467"/>
                  <a:gd name="T10" fmla="*/ 202 w 271"/>
                  <a:gd name="T11" fmla="*/ 256 h 467"/>
                  <a:gd name="T12" fmla="*/ 265 w 271"/>
                  <a:gd name="T13" fmla="*/ 46 h 467"/>
                  <a:gd name="T14" fmla="*/ 238 w 271"/>
                  <a:gd name="T15" fmla="*/ 34 h 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1" h="467">
                    <a:moveTo>
                      <a:pt x="238" y="34"/>
                    </a:moveTo>
                    <a:cubicBezTo>
                      <a:pt x="238" y="34"/>
                      <a:pt x="219" y="84"/>
                      <a:pt x="187" y="110"/>
                    </a:cubicBezTo>
                    <a:cubicBezTo>
                      <a:pt x="154" y="136"/>
                      <a:pt x="0" y="350"/>
                      <a:pt x="208" y="467"/>
                    </a:cubicBezTo>
                    <a:cubicBezTo>
                      <a:pt x="208" y="467"/>
                      <a:pt x="174" y="425"/>
                      <a:pt x="196" y="372"/>
                    </a:cubicBezTo>
                    <a:cubicBezTo>
                      <a:pt x="196" y="372"/>
                      <a:pt x="205" y="401"/>
                      <a:pt x="230" y="414"/>
                    </a:cubicBezTo>
                    <a:cubicBezTo>
                      <a:pt x="230" y="414"/>
                      <a:pt x="197" y="326"/>
                      <a:pt x="202" y="256"/>
                    </a:cubicBezTo>
                    <a:cubicBezTo>
                      <a:pt x="208" y="187"/>
                      <a:pt x="260" y="91"/>
                      <a:pt x="265" y="46"/>
                    </a:cubicBezTo>
                    <a:cubicBezTo>
                      <a:pt x="271" y="0"/>
                      <a:pt x="245" y="30"/>
                      <a:pt x="238" y="34"/>
                    </a:cubicBezTo>
                  </a:path>
                </a:pathLst>
              </a:custGeom>
              <a:solidFill>
                <a:srgbClr val="8645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56" name="Freeform 101">
                <a:extLst>
                  <a:ext uri="{FF2B5EF4-FFF2-40B4-BE49-F238E27FC236}">
                    <a16:creationId xmlns:a16="http://schemas.microsoft.com/office/drawing/2014/main" id="{970A9A03-C7A9-44C9-B405-DC6BE8ECBC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7736" y="1283634"/>
                <a:ext cx="139700" cy="228600"/>
              </a:xfrm>
              <a:custGeom>
                <a:avLst/>
                <a:gdLst>
                  <a:gd name="T0" fmla="*/ 8 w 56"/>
                  <a:gd name="T1" fmla="*/ 9 h 92"/>
                  <a:gd name="T2" fmla="*/ 0 w 56"/>
                  <a:gd name="T3" fmla="*/ 64 h 92"/>
                  <a:gd name="T4" fmla="*/ 29 w 56"/>
                  <a:gd name="T5" fmla="*/ 88 h 92"/>
                  <a:gd name="T6" fmla="*/ 53 w 56"/>
                  <a:gd name="T7" fmla="*/ 25 h 92"/>
                  <a:gd name="T8" fmla="*/ 8 w 56"/>
                  <a:gd name="T9" fmla="*/ 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92">
                    <a:moveTo>
                      <a:pt x="8" y="9"/>
                    </a:moveTo>
                    <a:cubicBezTo>
                      <a:pt x="8" y="9"/>
                      <a:pt x="0" y="52"/>
                      <a:pt x="0" y="64"/>
                    </a:cubicBezTo>
                    <a:cubicBezTo>
                      <a:pt x="1" y="77"/>
                      <a:pt x="14" y="92"/>
                      <a:pt x="29" y="88"/>
                    </a:cubicBezTo>
                    <a:cubicBezTo>
                      <a:pt x="44" y="85"/>
                      <a:pt x="50" y="37"/>
                      <a:pt x="53" y="25"/>
                    </a:cubicBezTo>
                    <a:cubicBezTo>
                      <a:pt x="56" y="14"/>
                      <a:pt x="17" y="0"/>
                      <a:pt x="8" y="9"/>
                    </a:cubicBezTo>
                  </a:path>
                </a:pathLst>
              </a:custGeom>
              <a:solidFill>
                <a:srgbClr val="FFC8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57" name="Freeform 102">
                <a:extLst>
                  <a:ext uri="{FF2B5EF4-FFF2-40B4-BE49-F238E27FC236}">
                    <a16:creationId xmlns:a16="http://schemas.microsoft.com/office/drawing/2014/main" id="{1872E58E-8079-445E-BD4E-6B0F04DDE6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77848" y="4668185"/>
                <a:ext cx="623887" cy="350838"/>
              </a:xfrm>
              <a:custGeom>
                <a:avLst/>
                <a:gdLst>
                  <a:gd name="T0" fmla="*/ 73 w 250"/>
                  <a:gd name="T1" fmla="*/ 27 h 141"/>
                  <a:gd name="T2" fmla="*/ 122 w 250"/>
                  <a:gd name="T3" fmla="*/ 54 h 141"/>
                  <a:gd name="T4" fmla="*/ 210 w 250"/>
                  <a:gd name="T5" fmla="*/ 10 h 141"/>
                  <a:gd name="T6" fmla="*/ 246 w 250"/>
                  <a:gd name="T7" fmla="*/ 70 h 141"/>
                  <a:gd name="T8" fmla="*/ 109 w 250"/>
                  <a:gd name="T9" fmla="*/ 130 h 141"/>
                  <a:gd name="T10" fmla="*/ 23 w 250"/>
                  <a:gd name="T11" fmla="*/ 130 h 141"/>
                  <a:gd name="T12" fmla="*/ 12 w 250"/>
                  <a:gd name="T13" fmla="*/ 48 h 141"/>
                  <a:gd name="T14" fmla="*/ 73 w 250"/>
                  <a:gd name="T15" fmla="*/ 27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141">
                    <a:moveTo>
                      <a:pt x="73" y="27"/>
                    </a:moveTo>
                    <a:cubicBezTo>
                      <a:pt x="73" y="27"/>
                      <a:pt x="109" y="55"/>
                      <a:pt x="122" y="54"/>
                    </a:cubicBezTo>
                    <a:cubicBezTo>
                      <a:pt x="135" y="54"/>
                      <a:pt x="187" y="0"/>
                      <a:pt x="210" y="10"/>
                    </a:cubicBezTo>
                    <a:cubicBezTo>
                      <a:pt x="232" y="19"/>
                      <a:pt x="250" y="47"/>
                      <a:pt x="246" y="70"/>
                    </a:cubicBezTo>
                    <a:cubicBezTo>
                      <a:pt x="246" y="70"/>
                      <a:pt x="147" y="122"/>
                      <a:pt x="109" y="130"/>
                    </a:cubicBezTo>
                    <a:cubicBezTo>
                      <a:pt x="71" y="137"/>
                      <a:pt x="31" y="141"/>
                      <a:pt x="23" y="130"/>
                    </a:cubicBezTo>
                    <a:cubicBezTo>
                      <a:pt x="15" y="118"/>
                      <a:pt x="0" y="72"/>
                      <a:pt x="12" y="48"/>
                    </a:cubicBezTo>
                    <a:cubicBezTo>
                      <a:pt x="23" y="23"/>
                      <a:pt x="73" y="27"/>
                      <a:pt x="73" y="27"/>
                    </a:cubicBezTo>
                  </a:path>
                </a:pathLst>
              </a:custGeom>
              <a:solidFill>
                <a:srgbClr val="D2E4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58" name="Freeform 103">
                <a:extLst>
                  <a:ext uri="{FF2B5EF4-FFF2-40B4-BE49-F238E27FC236}">
                    <a16:creationId xmlns:a16="http://schemas.microsoft.com/office/drawing/2014/main" id="{5EF80327-2F1C-40EB-A3D2-804AA49A8D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7173" y="4631672"/>
                <a:ext cx="557212" cy="520700"/>
              </a:xfrm>
              <a:custGeom>
                <a:avLst/>
                <a:gdLst>
                  <a:gd name="T0" fmla="*/ 113 w 223"/>
                  <a:gd name="T1" fmla="*/ 24 h 209"/>
                  <a:gd name="T2" fmla="*/ 137 w 223"/>
                  <a:gd name="T3" fmla="*/ 121 h 209"/>
                  <a:gd name="T4" fmla="*/ 214 w 223"/>
                  <a:gd name="T5" fmla="*/ 152 h 209"/>
                  <a:gd name="T6" fmla="*/ 214 w 223"/>
                  <a:gd name="T7" fmla="*/ 188 h 209"/>
                  <a:gd name="T8" fmla="*/ 96 w 223"/>
                  <a:gd name="T9" fmla="*/ 188 h 209"/>
                  <a:gd name="T10" fmla="*/ 4 w 223"/>
                  <a:gd name="T11" fmla="*/ 69 h 209"/>
                  <a:gd name="T12" fmla="*/ 52 w 223"/>
                  <a:gd name="T13" fmla="*/ 0 h 209"/>
                  <a:gd name="T14" fmla="*/ 113 w 223"/>
                  <a:gd name="T15" fmla="*/ 24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3" h="209">
                    <a:moveTo>
                      <a:pt x="113" y="24"/>
                    </a:moveTo>
                    <a:cubicBezTo>
                      <a:pt x="113" y="24"/>
                      <a:pt x="122" y="112"/>
                      <a:pt x="137" y="121"/>
                    </a:cubicBezTo>
                    <a:cubicBezTo>
                      <a:pt x="137" y="121"/>
                      <a:pt x="204" y="133"/>
                      <a:pt x="214" y="152"/>
                    </a:cubicBezTo>
                    <a:cubicBezTo>
                      <a:pt x="223" y="171"/>
                      <a:pt x="214" y="188"/>
                      <a:pt x="214" y="188"/>
                    </a:cubicBezTo>
                    <a:cubicBezTo>
                      <a:pt x="214" y="188"/>
                      <a:pt x="126" y="209"/>
                      <a:pt x="96" y="188"/>
                    </a:cubicBezTo>
                    <a:cubicBezTo>
                      <a:pt x="65" y="168"/>
                      <a:pt x="7" y="87"/>
                      <a:pt x="4" y="69"/>
                    </a:cubicBezTo>
                    <a:cubicBezTo>
                      <a:pt x="0" y="51"/>
                      <a:pt x="52" y="0"/>
                      <a:pt x="52" y="0"/>
                    </a:cubicBezTo>
                    <a:lnTo>
                      <a:pt x="113" y="24"/>
                    </a:lnTo>
                    <a:close/>
                  </a:path>
                </a:pathLst>
              </a:custGeom>
              <a:solidFill>
                <a:srgbClr val="D2E4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59" name="Freeform 104">
                <a:extLst>
                  <a:ext uri="{FF2B5EF4-FFF2-40B4-BE49-F238E27FC236}">
                    <a16:creationId xmlns:a16="http://schemas.microsoft.com/office/drawing/2014/main" id="{37390BFE-3DE1-43B4-804E-8A89586B8C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96711" y="2445684"/>
                <a:ext cx="1685925" cy="2409825"/>
              </a:xfrm>
              <a:custGeom>
                <a:avLst/>
                <a:gdLst>
                  <a:gd name="T0" fmla="*/ 522 w 676"/>
                  <a:gd name="T1" fmla="*/ 73 h 967"/>
                  <a:gd name="T2" fmla="*/ 628 w 676"/>
                  <a:gd name="T3" fmla="*/ 429 h 967"/>
                  <a:gd name="T4" fmla="*/ 676 w 676"/>
                  <a:gd name="T5" fmla="*/ 919 h 967"/>
                  <a:gd name="T6" fmla="*/ 599 w 676"/>
                  <a:gd name="T7" fmla="*/ 936 h 967"/>
                  <a:gd name="T8" fmla="*/ 547 w 676"/>
                  <a:gd name="T9" fmla="*/ 552 h 967"/>
                  <a:gd name="T10" fmla="*/ 400 w 676"/>
                  <a:gd name="T11" fmla="*/ 235 h 967"/>
                  <a:gd name="T12" fmla="*/ 305 w 676"/>
                  <a:gd name="T13" fmla="*/ 536 h 967"/>
                  <a:gd name="T14" fmla="*/ 69 w 676"/>
                  <a:gd name="T15" fmla="*/ 919 h 967"/>
                  <a:gd name="T16" fmla="*/ 0 w 676"/>
                  <a:gd name="T17" fmla="*/ 890 h 967"/>
                  <a:gd name="T18" fmla="*/ 187 w 676"/>
                  <a:gd name="T19" fmla="*/ 542 h 967"/>
                  <a:gd name="T20" fmla="*/ 267 w 676"/>
                  <a:gd name="T21" fmla="*/ 68 h 967"/>
                  <a:gd name="T22" fmla="*/ 522 w 676"/>
                  <a:gd name="T23" fmla="*/ 73 h 9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76" h="967">
                    <a:moveTo>
                      <a:pt x="522" y="73"/>
                    </a:moveTo>
                    <a:cubicBezTo>
                      <a:pt x="522" y="73"/>
                      <a:pt x="606" y="309"/>
                      <a:pt x="628" y="429"/>
                    </a:cubicBezTo>
                    <a:cubicBezTo>
                      <a:pt x="651" y="550"/>
                      <a:pt x="668" y="898"/>
                      <a:pt x="676" y="919"/>
                    </a:cubicBezTo>
                    <a:cubicBezTo>
                      <a:pt x="676" y="919"/>
                      <a:pt x="651" y="967"/>
                      <a:pt x="599" y="936"/>
                    </a:cubicBezTo>
                    <a:cubicBezTo>
                      <a:pt x="599" y="936"/>
                      <a:pt x="568" y="627"/>
                      <a:pt x="547" y="552"/>
                    </a:cubicBezTo>
                    <a:cubicBezTo>
                      <a:pt x="526" y="477"/>
                      <a:pt x="418" y="260"/>
                      <a:pt x="400" y="235"/>
                    </a:cubicBezTo>
                    <a:cubicBezTo>
                      <a:pt x="400" y="235"/>
                      <a:pt x="333" y="464"/>
                      <a:pt x="305" y="536"/>
                    </a:cubicBezTo>
                    <a:cubicBezTo>
                      <a:pt x="276" y="609"/>
                      <a:pt x="111" y="898"/>
                      <a:pt x="69" y="919"/>
                    </a:cubicBezTo>
                    <a:cubicBezTo>
                      <a:pt x="69" y="919"/>
                      <a:pt x="21" y="935"/>
                      <a:pt x="0" y="890"/>
                    </a:cubicBezTo>
                    <a:cubicBezTo>
                      <a:pt x="0" y="890"/>
                      <a:pt x="164" y="624"/>
                      <a:pt x="187" y="542"/>
                    </a:cubicBezTo>
                    <a:cubicBezTo>
                      <a:pt x="210" y="460"/>
                      <a:pt x="229" y="136"/>
                      <a:pt x="267" y="68"/>
                    </a:cubicBezTo>
                    <a:cubicBezTo>
                      <a:pt x="306" y="0"/>
                      <a:pt x="463" y="29"/>
                      <a:pt x="522" y="73"/>
                    </a:cubicBezTo>
                  </a:path>
                </a:pathLst>
              </a:custGeom>
              <a:solidFill>
                <a:srgbClr val="2F5F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60" name="Freeform 105">
                <a:extLst>
                  <a:ext uri="{FF2B5EF4-FFF2-40B4-BE49-F238E27FC236}">
                    <a16:creationId xmlns:a16="http://schemas.microsoft.com/office/drawing/2014/main" id="{7A1F9274-1176-4D9B-A818-F5CEC6CEF8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87436" y="1632884"/>
                <a:ext cx="341312" cy="452438"/>
              </a:xfrm>
              <a:custGeom>
                <a:avLst/>
                <a:gdLst>
                  <a:gd name="T0" fmla="*/ 2 w 137"/>
                  <a:gd name="T1" fmla="*/ 139 h 182"/>
                  <a:gd name="T2" fmla="*/ 6 w 137"/>
                  <a:gd name="T3" fmla="*/ 73 h 182"/>
                  <a:gd name="T4" fmla="*/ 51 w 137"/>
                  <a:gd name="T5" fmla="*/ 61 h 182"/>
                  <a:gd name="T6" fmla="*/ 119 w 137"/>
                  <a:gd name="T7" fmla="*/ 1 h 182"/>
                  <a:gd name="T8" fmla="*/ 124 w 137"/>
                  <a:gd name="T9" fmla="*/ 21 h 182"/>
                  <a:gd name="T10" fmla="*/ 82 w 137"/>
                  <a:gd name="T11" fmla="*/ 77 h 182"/>
                  <a:gd name="T12" fmla="*/ 110 w 137"/>
                  <a:gd name="T13" fmla="*/ 82 h 182"/>
                  <a:gd name="T14" fmla="*/ 110 w 137"/>
                  <a:gd name="T15" fmla="*/ 108 h 182"/>
                  <a:gd name="T16" fmla="*/ 112 w 137"/>
                  <a:gd name="T17" fmla="*/ 139 h 182"/>
                  <a:gd name="T18" fmla="*/ 43 w 137"/>
                  <a:gd name="T19" fmla="*/ 179 h 182"/>
                  <a:gd name="T20" fmla="*/ 2 w 137"/>
                  <a:gd name="T21" fmla="*/ 139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7" h="182">
                    <a:moveTo>
                      <a:pt x="2" y="139"/>
                    </a:moveTo>
                    <a:cubicBezTo>
                      <a:pt x="2" y="139"/>
                      <a:pt x="0" y="96"/>
                      <a:pt x="6" y="73"/>
                    </a:cubicBezTo>
                    <a:cubicBezTo>
                      <a:pt x="13" y="50"/>
                      <a:pt x="33" y="46"/>
                      <a:pt x="51" y="61"/>
                    </a:cubicBezTo>
                    <a:cubicBezTo>
                      <a:pt x="51" y="61"/>
                      <a:pt x="106" y="2"/>
                      <a:pt x="119" y="1"/>
                    </a:cubicBezTo>
                    <a:cubicBezTo>
                      <a:pt x="132" y="0"/>
                      <a:pt x="137" y="7"/>
                      <a:pt x="124" y="21"/>
                    </a:cubicBezTo>
                    <a:cubicBezTo>
                      <a:pt x="112" y="35"/>
                      <a:pt x="82" y="77"/>
                      <a:pt x="82" y="77"/>
                    </a:cubicBezTo>
                    <a:cubicBezTo>
                      <a:pt x="82" y="77"/>
                      <a:pt x="104" y="72"/>
                      <a:pt x="110" y="82"/>
                    </a:cubicBezTo>
                    <a:cubicBezTo>
                      <a:pt x="117" y="92"/>
                      <a:pt x="110" y="108"/>
                      <a:pt x="110" y="108"/>
                    </a:cubicBezTo>
                    <a:cubicBezTo>
                      <a:pt x="110" y="108"/>
                      <a:pt x="128" y="121"/>
                      <a:pt x="112" y="139"/>
                    </a:cubicBezTo>
                    <a:cubicBezTo>
                      <a:pt x="95" y="156"/>
                      <a:pt x="51" y="182"/>
                      <a:pt x="43" y="179"/>
                    </a:cubicBezTo>
                    <a:cubicBezTo>
                      <a:pt x="35" y="176"/>
                      <a:pt x="2" y="139"/>
                      <a:pt x="2" y="139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61" name="Freeform 106">
                <a:extLst>
                  <a:ext uri="{FF2B5EF4-FFF2-40B4-BE49-F238E27FC236}">
                    <a16:creationId xmlns:a16="http://schemas.microsoft.com/office/drawing/2014/main" id="{042A469E-2485-4DE8-8EF6-30B1B23B4C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71448" y="1585259"/>
                <a:ext cx="1062037" cy="752475"/>
              </a:xfrm>
              <a:custGeom>
                <a:avLst/>
                <a:gdLst>
                  <a:gd name="T0" fmla="*/ 6 w 426"/>
                  <a:gd name="T1" fmla="*/ 0 h 302"/>
                  <a:gd name="T2" fmla="*/ 54 w 426"/>
                  <a:gd name="T3" fmla="*/ 39 h 302"/>
                  <a:gd name="T4" fmla="*/ 205 w 426"/>
                  <a:gd name="T5" fmla="*/ 209 h 302"/>
                  <a:gd name="T6" fmla="*/ 365 w 426"/>
                  <a:gd name="T7" fmla="*/ 150 h 302"/>
                  <a:gd name="T8" fmla="*/ 421 w 426"/>
                  <a:gd name="T9" fmla="*/ 210 h 302"/>
                  <a:gd name="T10" fmla="*/ 202 w 426"/>
                  <a:gd name="T11" fmla="*/ 299 h 302"/>
                  <a:gd name="T12" fmla="*/ 65 w 426"/>
                  <a:gd name="T13" fmla="*/ 208 h 302"/>
                  <a:gd name="T14" fmla="*/ 6 w 426"/>
                  <a:gd name="T15" fmla="*/ 0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6" h="302">
                    <a:moveTo>
                      <a:pt x="6" y="0"/>
                    </a:moveTo>
                    <a:cubicBezTo>
                      <a:pt x="6" y="0"/>
                      <a:pt x="35" y="8"/>
                      <a:pt x="54" y="39"/>
                    </a:cubicBezTo>
                    <a:cubicBezTo>
                      <a:pt x="74" y="69"/>
                      <a:pt x="129" y="198"/>
                      <a:pt x="205" y="209"/>
                    </a:cubicBezTo>
                    <a:cubicBezTo>
                      <a:pt x="281" y="220"/>
                      <a:pt x="349" y="153"/>
                      <a:pt x="365" y="150"/>
                    </a:cubicBezTo>
                    <a:cubicBezTo>
                      <a:pt x="381" y="147"/>
                      <a:pt x="426" y="186"/>
                      <a:pt x="421" y="210"/>
                    </a:cubicBezTo>
                    <a:cubicBezTo>
                      <a:pt x="416" y="235"/>
                      <a:pt x="272" y="302"/>
                      <a:pt x="202" y="299"/>
                    </a:cubicBezTo>
                    <a:cubicBezTo>
                      <a:pt x="133" y="295"/>
                      <a:pt x="78" y="224"/>
                      <a:pt x="65" y="208"/>
                    </a:cubicBezTo>
                    <a:cubicBezTo>
                      <a:pt x="52" y="192"/>
                      <a:pt x="0" y="46"/>
                      <a:pt x="6" y="0"/>
                    </a:cubicBezTo>
                  </a:path>
                </a:pathLst>
              </a:custGeom>
              <a:solidFill>
                <a:srgbClr val="FF69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62" name="Freeform 107">
                <a:extLst>
                  <a:ext uri="{FF2B5EF4-FFF2-40B4-BE49-F238E27FC236}">
                    <a16:creationId xmlns:a16="http://schemas.microsoft.com/office/drawing/2014/main" id="{58217151-19C0-4624-A37C-F06CA7836A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2898" y="1971022"/>
                <a:ext cx="520700" cy="723900"/>
              </a:xfrm>
              <a:custGeom>
                <a:avLst/>
                <a:gdLst>
                  <a:gd name="T0" fmla="*/ 199 w 209"/>
                  <a:gd name="T1" fmla="*/ 76 h 290"/>
                  <a:gd name="T2" fmla="*/ 37 w 209"/>
                  <a:gd name="T3" fmla="*/ 290 h 290"/>
                  <a:gd name="T4" fmla="*/ 0 w 209"/>
                  <a:gd name="T5" fmla="*/ 277 h 290"/>
                  <a:gd name="T6" fmla="*/ 157 w 209"/>
                  <a:gd name="T7" fmla="*/ 115 h 290"/>
                  <a:gd name="T8" fmla="*/ 199 w 209"/>
                  <a:gd name="T9" fmla="*/ 76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9" h="290">
                    <a:moveTo>
                      <a:pt x="199" y="76"/>
                    </a:moveTo>
                    <a:cubicBezTo>
                      <a:pt x="199" y="76"/>
                      <a:pt x="139" y="232"/>
                      <a:pt x="37" y="290"/>
                    </a:cubicBezTo>
                    <a:cubicBezTo>
                      <a:pt x="37" y="290"/>
                      <a:pt x="7" y="288"/>
                      <a:pt x="0" y="277"/>
                    </a:cubicBezTo>
                    <a:cubicBezTo>
                      <a:pt x="0" y="277"/>
                      <a:pt x="105" y="231"/>
                      <a:pt x="157" y="115"/>
                    </a:cubicBezTo>
                    <a:cubicBezTo>
                      <a:pt x="209" y="0"/>
                      <a:pt x="199" y="76"/>
                      <a:pt x="199" y="76"/>
                    </a:cubicBezTo>
                  </a:path>
                </a:pathLst>
              </a:custGeom>
              <a:solidFill>
                <a:srgbClr val="EDB4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63" name="Freeform 108">
                <a:extLst>
                  <a:ext uri="{FF2B5EF4-FFF2-40B4-BE49-F238E27FC236}">
                    <a16:creationId xmlns:a16="http://schemas.microsoft.com/office/drawing/2014/main" id="{D7ABAD54-3C6D-4ED9-BCAE-8C9DA781CB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3361" y="1550334"/>
                <a:ext cx="1465262" cy="1260475"/>
              </a:xfrm>
              <a:custGeom>
                <a:avLst/>
                <a:gdLst>
                  <a:gd name="T0" fmla="*/ 429 w 588"/>
                  <a:gd name="T1" fmla="*/ 9 h 506"/>
                  <a:gd name="T2" fmla="*/ 492 w 588"/>
                  <a:gd name="T3" fmla="*/ 22 h 506"/>
                  <a:gd name="T4" fmla="*/ 528 w 588"/>
                  <a:gd name="T5" fmla="*/ 122 h 506"/>
                  <a:gd name="T6" fmla="*/ 549 w 588"/>
                  <a:gd name="T7" fmla="*/ 240 h 506"/>
                  <a:gd name="T8" fmla="*/ 588 w 588"/>
                  <a:gd name="T9" fmla="*/ 447 h 506"/>
                  <a:gd name="T10" fmla="*/ 302 w 588"/>
                  <a:gd name="T11" fmla="*/ 441 h 506"/>
                  <a:gd name="T12" fmla="*/ 355 w 588"/>
                  <a:gd name="T13" fmla="*/ 292 h 506"/>
                  <a:gd name="T14" fmla="*/ 316 w 588"/>
                  <a:gd name="T15" fmla="*/ 149 h 506"/>
                  <a:gd name="T16" fmla="*/ 188 w 588"/>
                  <a:gd name="T17" fmla="*/ 315 h 506"/>
                  <a:gd name="T18" fmla="*/ 16 w 588"/>
                  <a:gd name="T19" fmla="*/ 294 h 506"/>
                  <a:gd name="T20" fmla="*/ 69 w 588"/>
                  <a:gd name="T21" fmla="*/ 242 h 506"/>
                  <a:gd name="T22" fmla="*/ 166 w 588"/>
                  <a:gd name="T23" fmla="*/ 229 h 506"/>
                  <a:gd name="T24" fmla="*/ 284 w 588"/>
                  <a:gd name="T25" fmla="*/ 31 h 506"/>
                  <a:gd name="T26" fmla="*/ 429 w 588"/>
                  <a:gd name="T27" fmla="*/ 9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88" h="506">
                    <a:moveTo>
                      <a:pt x="429" y="9"/>
                    </a:moveTo>
                    <a:cubicBezTo>
                      <a:pt x="429" y="9"/>
                      <a:pt x="483" y="0"/>
                      <a:pt x="492" y="22"/>
                    </a:cubicBezTo>
                    <a:cubicBezTo>
                      <a:pt x="501" y="45"/>
                      <a:pt x="516" y="109"/>
                      <a:pt x="528" y="122"/>
                    </a:cubicBezTo>
                    <a:cubicBezTo>
                      <a:pt x="541" y="134"/>
                      <a:pt x="585" y="195"/>
                      <a:pt x="549" y="240"/>
                    </a:cubicBezTo>
                    <a:cubicBezTo>
                      <a:pt x="549" y="240"/>
                      <a:pt x="583" y="337"/>
                      <a:pt x="588" y="447"/>
                    </a:cubicBezTo>
                    <a:cubicBezTo>
                      <a:pt x="588" y="447"/>
                      <a:pt x="433" y="506"/>
                      <a:pt x="302" y="441"/>
                    </a:cubicBezTo>
                    <a:cubicBezTo>
                      <a:pt x="302" y="441"/>
                      <a:pt x="351" y="317"/>
                      <a:pt x="355" y="292"/>
                    </a:cubicBezTo>
                    <a:cubicBezTo>
                      <a:pt x="362" y="246"/>
                      <a:pt x="316" y="149"/>
                      <a:pt x="316" y="149"/>
                    </a:cubicBezTo>
                    <a:cubicBezTo>
                      <a:pt x="316" y="149"/>
                      <a:pt x="242" y="279"/>
                      <a:pt x="188" y="315"/>
                    </a:cubicBezTo>
                    <a:cubicBezTo>
                      <a:pt x="134" y="352"/>
                      <a:pt x="32" y="365"/>
                      <a:pt x="16" y="294"/>
                    </a:cubicBezTo>
                    <a:cubicBezTo>
                      <a:pt x="0" y="224"/>
                      <a:pt x="69" y="242"/>
                      <a:pt x="69" y="242"/>
                    </a:cubicBezTo>
                    <a:cubicBezTo>
                      <a:pt x="69" y="242"/>
                      <a:pt x="135" y="252"/>
                      <a:pt x="166" y="229"/>
                    </a:cubicBezTo>
                    <a:cubicBezTo>
                      <a:pt x="198" y="206"/>
                      <a:pt x="262" y="51"/>
                      <a:pt x="284" y="31"/>
                    </a:cubicBezTo>
                    <a:cubicBezTo>
                      <a:pt x="305" y="11"/>
                      <a:pt x="402" y="10"/>
                      <a:pt x="429" y="9"/>
                    </a:cubicBezTo>
                  </a:path>
                </a:pathLst>
              </a:custGeom>
              <a:solidFill>
                <a:srgbClr val="FF69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64" name="Freeform 109">
                <a:extLst>
                  <a:ext uri="{FF2B5EF4-FFF2-40B4-BE49-F238E27FC236}">
                    <a16:creationId xmlns:a16="http://schemas.microsoft.com/office/drawing/2014/main" id="{22E901ED-5339-4840-B5C2-1501AC9CAC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0636" y="2666347"/>
                <a:ext cx="712787" cy="566738"/>
              </a:xfrm>
              <a:custGeom>
                <a:avLst/>
                <a:gdLst>
                  <a:gd name="T0" fmla="*/ 119 w 286"/>
                  <a:gd name="T1" fmla="*/ 5 h 227"/>
                  <a:gd name="T2" fmla="*/ 15 w 286"/>
                  <a:gd name="T3" fmla="*/ 103 h 227"/>
                  <a:gd name="T4" fmla="*/ 160 w 286"/>
                  <a:gd name="T5" fmla="*/ 224 h 227"/>
                  <a:gd name="T6" fmla="*/ 284 w 286"/>
                  <a:gd name="T7" fmla="*/ 103 h 227"/>
                  <a:gd name="T8" fmla="*/ 119 w 286"/>
                  <a:gd name="T9" fmla="*/ 5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6" h="227">
                    <a:moveTo>
                      <a:pt x="119" y="5"/>
                    </a:moveTo>
                    <a:cubicBezTo>
                      <a:pt x="119" y="5"/>
                      <a:pt x="31" y="80"/>
                      <a:pt x="15" y="103"/>
                    </a:cubicBezTo>
                    <a:cubicBezTo>
                      <a:pt x="0" y="125"/>
                      <a:pt x="140" y="227"/>
                      <a:pt x="160" y="224"/>
                    </a:cubicBezTo>
                    <a:cubicBezTo>
                      <a:pt x="180" y="222"/>
                      <a:pt x="286" y="116"/>
                      <a:pt x="284" y="103"/>
                    </a:cubicBezTo>
                    <a:cubicBezTo>
                      <a:pt x="282" y="89"/>
                      <a:pt x="145" y="0"/>
                      <a:pt x="119" y="5"/>
                    </a:cubicBezTo>
                  </a:path>
                </a:pathLst>
              </a:custGeom>
              <a:solidFill>
                <a:srgbClr val="EDB4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65" name="Freeform 110">
                <a:extLst>
                  <a:ext uri="{FF2B5EF4-FFF2-40B4-BE49-F238E27FC236}">
                    <a16:creationId xmlns:a16="http://schemas.microsoft.com/office/drawing/2014/main" id="{4C85F1C3-C18E-4199-9AF8-11806F9A2D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33261" y="1594784"/>
                <a:ext cx="627062" cy="1328738"/>
              </a:xfrm>
              <a:custGeom>
                <a:avLst/>
                <a:gdLst>
                  <a:gd name="T0" fmla="*/ 127 w 251"/>
                  <a:gd name="T1" fmla="*/ 0 h 533"/>
                  <a:gd name="T2" fmla="*/ 151 w 251"/>
                  <a:gd name="T3" fmla="*/ 161 h 533"/>
                  <a:gd name="T4" fmla="*/ 0 w 251"/>
                  <a:gd name="T5" fmla="*/ 511 h 533"/>
                  <a:gd name="T6" fmla="*/ 16 w 251"/>
                  <a:gd name="T7" fmla="*/ 533 h 533"/>
                  <a:gd name="T8" fmla="*/ 142 w 251"/>
                  <a:gd name="T9" fmla="*/ 0 h 533"/>
                  <a:gd name="T10" fmla="*/ 127 w 251"/>
                  <a:gd name="T11" fmla="*/ 0 h 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1" h="533">
                    <a:moveTo>
                      <a:pt x="127" y="0"/>
                    </a:moveTo>
                    <a:cubicBezTo>
                      <a:pt x="127" y="0"/>
                      <a:pt x="160" y="72"/>
                      <a:pt x="151" y="161"/>
                    </a:cubicBezTo>
                    <a:cubicBezTo>
                      <a:pt x="141" y="251"/>
                      <a:pt x="56" y="461"/>
                      <a:pt x="0" y="511"/>
                    </a:cubicBezTo>
                    <a:cubicBezTo>
                      <a:pt x="16" y="533"/>
                      <a:pt x="16" y="533"/>
                      <a:pt x="16" y="533"/>
                    </a:cubicBezTo>
                    <a:cubicBezTo>
                      <a:pt x="16" y="533"/>
                      <a:pt x="251" y="193"/>
                      <a:pt x="142" y="0"/>
                    </a:cubicBezTo>
                    <a:lnTo>
                      <a:pt x="127" y="0"/>
                    </a:lnTo>
                    <a:close/>
                  </a:path>
                </a:pathLst>
              </a:custGeom>
              <a:solidFill>
                <a:srgbClr val="EDB4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66" name="Freeform 111">
                <a:extLst>
                  <a:ext uri="{FF2B5EF4-FFF2-40B4-BE49-F238E27FC236}">
                    <a16:creationId xmlns:a16="http://schemas.microsoft.com/office/drawing/2014/main" id="{F314F11F-C62A-434E-87ED-42FC2A366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3673" y="2631422"/>
                <a:ext cx="557212" cy="347663"/>
              </a:xfrm>
              <a:custGeom>
                <a:avLst/>
                <a:gdLst>
                  <a:gd name="T0" fmla="*/ 224 w 224"/>
                  <a:gd name="T1" fmla="*/ 112 h 139"/>
                  <a:gd name="T2" fmla="*/ 156 w 224"/>
                  <a:gd name="T3" fmla="*/ 62 h 139"/>
                  <a:gd name="T4" fmla="*/ 54 w 224"/>
                  <a:gd name="T5" fmla="*/ 4 h 139"/>
                  <a:gd name="T6" fmla="*/ 0 w 224"/>
                  <a:gd name="T7" fmla="*/ 57 h 139"/>
                  <a:gd name="T8" fmla="*/ 87 w 224"/>
                  <a:gd name="T9" fmla="*/ 139 h 139"/>
                  <a:gd name="T10" fmla="*/ 186 w 224"/>
                  <a:gd name="T11" fmla="*/ 117 h 139"/>
                  <a:gd name="T12" fmla="*/ 224 w 224"/>
                  <a:gd name="T13" fmla="*/ 112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4" h="139">
                    <a:moveTo>
                      <a:pt x="224" y="112"/>
                    </a:moveTo>
                    <a:cubicBezTo>
                      <a:pt x="224" y="112"/>
                      <a:pt x="192" y="87"/>
                      <a:pt x="156" y="62"/>
                    </a:cubicBezTo>
                    <a:cubicBezTo>
                      <a:pt x="120" y="37"/>
                      <a:pt x="71" y="0"/>
                      <a:pt x="54" y="4"/>
                    </a:cubicBezTo>
                    <a:cubicBezTo>
                      <a:pt x="38" y="7"/>
                      <a:pt x="0" y="44"/>
                      <a:pt x="0" y="57"/>
                    </a:cubicBezTo>
                    <a:cubicBezTo>
                      <a:pt x="0" y="71"/>
                      <a:pt x="63" y="137"/>
                      <a:pt x="87" y="139"/>
                    </a:cubicBezTo>
                    <a:cubicBezTo>
                      <a:pt x="87" y="139"/>
                      <a:pt x="149" y="122"/>
                      <a:pt x="186" y="117"/>
                    </a:cubicBezTo>
                    <a:cubicBezTo>
                      <a:pt x="224" y="112"/>
                      <a:pt x="216" y="124"/>
                      <a:pt x="224" y="112"/>
                    </a:cubicBezTo>
                  </a:path>
                </a:pathLst>
              </a:custGeom>
              <a:solidFill>
                <a:srgbClr val="FFD2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67" name="Freeform 112">
                <a:extLst>
                  <a:ext uri="{FF2B5EF4-FFF2-40B4-BE49-F238E27FC236}">
                    <a16:creationId xmlns:a16="http://schemas.microsoft.com/office/drawing/2014/main" id="{3BCA26E7-270A-4E6C-98D2-4BEB2472D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20623" y="1477309"/>
                <a:ext cx="184150" cy="195263"/>
              </a:xfrm>
              <a:custGeom>
                <a:avLst/>
                <a:gdLst>
                  <a:gd name="T0" fmla="*/ 50 w 74"/>
                  <a:gd name="T1" fmla="*/ 18 h 78"/>
                  <a:gd name="T2" fmla="*/ 65 w 74"/>
                  <a:gd name="T3" fmla="*/ 45 h 78"/>
                  <a:gd name="T4" fmla="*/ 58 w 74"/>
                  <a:gd name="T5" fmla="*/ 71 h 78"/>
                  <a:gd name="T6" fmla="*/ 2 w 74"/>
                  <a:gd name="T7" fmla="*/ 45 h 78"/>
                  <a:gd name="T8" fmla="*/ 5 w 74"/>
                  <a:gd name="T9" fmla="*/ 13 h 78"/>
                  <a:gd name="T10" fmla="*/ 50 w 74"/>
                  <a:gd name="T11" fmla="*/ 1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4" h="78">
                    <a:moveTo>
                      <a:pt x="50" y="18"/>
                    </a:moveTo>
                    <a:cubicBezTo>
                      <a:pt x="50" y="18"/>
                      <a:pt x="57" y="45"/>
                      <a:pt x="65" y="45"/>
                    </a:cubicBezTo>
                    <a:cubicBezTo>
                      <a:pt x="65" y="45"/>
                      <a:pt x="74" y="65"/>
                      <a:pt x="58" y="71"/>
                    </a:cubicBezTo>
                    <a:cubicBezTo>
                      <a:pt x="41" y="78"/>
                      <a:pt x="0" y="50"/>
                      <a:pt x="2" y="45"/>
                    </a:cubicBezTo>
                    <a:cubicBezTo>
                      <a:pt x="3" y="40"/>
                      <a:pt x="7" y="23"/>
                      <a:pt x="5" y="13"/>
                    </a:cubicBezTo>
                    <a:cubicBezTo>
                      <a:pt x="2" y="3"/>
                      <a:pt x="36" y="0"/>
                      <a:pt x="50" y="18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68" name="Freeform 113">
                <a:extLst>
                  <a:ext uri="{FF2B5EF4-FFF2-40B4-BE49-F238E27FC236}">
                    <a16:creationId xmlns:a16="http://schemas.microsoft.com/office/drawing/2014/main" id="{2D0AFC91-1A81-4CD7-897E-CBA77C23F0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36448" y="615297"/>
                <a:ext cx="765175" cy="765175"/>
              </a:xfrm>
              <a:custGeom>
                <a:avLst/>
                <a:gdLst>
                  <a:gd name="T0" fmla="*/ 157 w 307"/>
                  <a:gd name="T1" fmla="*/ 18 h 307"/>
                  <a:gd name="T2" fmla="*/ 285 w 307"/>
                  <a:gd name="T3" fmla="*/ 80 h 307"/>
                  <a:gd name="T4" fmla="*/ 282 w 307"/>
                  <a:gd name="T5" fmla="*/ 198 h 307"/>
                  <a:gd name="T6" fmla="*/ 97 w 307"/>
                  <a:gd name="T7" fmla="*/ 307 h 307"/>
                  <a:gd name="T8" fmla="*/ 19 w 307"/>
                  <a:gd name="T9" fmla="*/ 231 h 307"/>
                  <a:gd name="T10" fmla="*/ 29 w 307"/>
                  <a:gd name="T11" fmla="*/ 83 h 307"/>
                  <a:gd name="T12" fmla="*/ 157 w 307"/>
                  <a:gd name="T13" fmla="*/ 18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7" h="307">
                    <a:moveTo>
                      <a:pt x="157" y="18"/>
                    </a:moveTo>
                    <a:cubicBezTo>
                      <a:pt x="195" y="0"/>
                      <a:pt x="271" y="43"/>
                      <a:pt x="285" y="80"/>
                    </a:cubicBezTo>
                    <a:cubicBezTo>
                      <a:pt x="299" y="117"/>
                      <a:pt x="307" y="172"/>
                      <a:pt x="282" y="198"/>
                    </a:cubicBezTo>
                    <a:cubicBezTo>
                      <a:pt x="256" y="224"/>
                      <a:pt x="97" y="307"/>
                      <a:pt x="97" y="307"/>
                    </a:cubicBezTo>
                    <a:cubicBezTo>
                      <a:pt x="97" y="307"/>
                      <a:pt x="32" y="262"/>
                      <a:pt x="19" y="231"/>
                    </a:cubicBezTo>
                    <a:cubicBezTo>
                      <a:pt x="7" y="201"/>
                      <a:pt x="0" y="135"/>
                      <a:pt x="29" y="83"/>
                    </a:cubicBezTo>
                    <a:cubicBezTo>
                      <a:pt x="58" y="31"/>
                      <a:pt x="115" y="9"/>
                      <a:pt x="157" y="18"/>
                    </a:cubicBezTo>
                  </a:path>
                </a:pathLst>
              </a:custGeom>
              <a:solidFill>
                <a:srgbClr val="8645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69" name="Freeform 114">
                <a:extLst>
                  <a:ext uri="{FF2B5EF4-FFF2-40B4-BE49-F238E27FC236}">
                    <a16:creationId xmlns:a16="http://schemas.microsoft.com/office/drawing/2014/main" id="{D0E1204F-1D61-4ECF-B1E7-01BA8AD0C6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98373" y="789922"/>
                <a:ext cx="571500" cy="752475"/>
              </a:xfrm>
              <a:custGeom>
                <a:avLst/>
                <a:gdLst>
                  <a:gd name="T0" fmla="*/ 213 w 229"/>
                  <a:gd name="T1" fmla="*/ 96 h 302"/>
                  <a:gd name="T2" fmla="*/ 213 w 229"/>
                  <a:gd name="T3" fmla="*/ 244 h 302"/>
                  <a:gd name="T4" fmla="*/ 82 w 229"/>
                  <a:gd name="T5" fmla="*/ 286 h 302"/>
                  <a:gd name="T6" fmla="*/ 0 w 229"/>
                  <a:gd name="T7" fmla="*/ 145 h 302"/>
                  <a:gd name="T8" fmla="*/ 97 w 229"/>
                  <a:gd name="T9" fmla="*/ 0 h 302"/>
                  <a:gd name="T10" fmla="*/ 213 w 229"/>
                  <a:gd name="T11" fmla="*/ 96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9" h="302">
                    <a:moveTo>
                      <a:pt x="213" y="96"/>
                    </a:moveTo>
                    <a:cubicBezTo>
                      <a:pt x="213" y="96"/>
                      <a:pt x="229" y="205"/>
                      <a:pt x="213" y="244"/>
                    </a:cubicBezTo>
                    <a:cubicBezTo>
                      <a:pt x="189" y="302"/>
                      <a:pt x="115" y="297"/>
                      <a:pt x="82" y="286"/>
                    </a:cubicBezTo>
                    <a:cubicBezTo>
                      <a:pt x="29" y="267"/>
                      <a:pt x="5" y="173"/>
                      <a:pt x="0" y="145"/>
                    </a:cubicBezTo>
                    <a:cubicBezTo>
                      <a:pt x="0" y="145"/>
                      <a:pt x="89" y="108"/>
                      <a:pt x="97" y="0"/>
                    </a:cubicBezTo>
                    <a:cubicBezTo>
                      <a:pt x="97" y="0"/>
                      <a:pt x="171" y="102"/>
                      <a:pt x="213" y="96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70" name="Freeform 115">
                <a:extLst>
                  <a:ext uri="{FF2B5EF4-FFF2-40B4-BE49-F238E27FC236}">
                    <a16:creationId xmlns:a16="http://schemas.microsoft.com/office/drawing/2014/main" id="{E162A00F-AF45-4E3C-87F3-3FAF481ACA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26986" y="1047097"/>
                <a:ext cx="161925" cy="144463"/>
              </a:xfrm>
              <a:custGeom>
                <a:avLst/>
                <a:gdLst>
                  <a:gd name="T0" fmla="*/ 2 w 65"/>
                  <a:gd name="T1" fmla="*/ 0 h 58"/>
                  <a:gd name="T2" fmla="*/ 10 w 65"/>
                  <a:gd name="T3" fmla="*/ 39 h 58"/>
                  <a:gd name="T4" fmla="*/ 43 w 65"/>
                  <a:gd name="T5" fmla="*/ 35 h 58"/>
                  <a:gd name="T6" fmla="*/ 36 w 65"/>
                  <a:gd name="T7" fmla="*/ 58 h 58"/>
                  <a:gd name="T8" fmla="*/ 47 w 65"/>
                  <a:gd name="T9" fmla="*/ 29 h 58"/>
                  <a:gd name="T10" fmla="*/ 14 w 65"/>
                  <a:gd name="T11" fmla="*/ 34 h 58"/>
                  <a:gd name="T12" fmla="*/ 2 w 65"/>
                  <a:gd name="T1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" h="58">
                    <a:moveTo>
                      <a:pt x="2" y="0"/>
                    </a:moveTo>
                    <a:cubicBezTo>
                      <a:pt x="2" y="0"/>
                      <a:pt x="0" y="33"/>
                      <a:pt x="10" y="39"/>
                    </a:cubicBezTo>
                    <a:cubicBezTo>
                      <a:pt x="20" y="46"/>
                      <a:pt x="38" y="27"/>
                      <a:pt x="43" y="35"/>
                    </a:cubicBezTo>
                    <a:cubicBezTo>
                      <a:pt x="49" y="43"/>
                      <a:pt x="49" y="53"/>
                      <a:pt x="36" y="58"/>
                    </a:cubicBezTo>
                    <a:cubicBezTo>
                      <a:pt x="36" y="58"/>
                      <a:pt x="65" y="52"/>
                      <a:pt x="47" y="29"/>
                    </a:cubicBezTo>
                    <a:cubicBezTo>
                      <a:pt x="36" y="15"/>
                      <a:pt x="19" y="40"/>
                      <a:pt x="14" y="34"/>
                    </a:cubicBezTo>
                    <a:cubicBezTo>
                      <a:pt x="10" y="28"/>
                      <a:pt x="2" y="8"/>
                      <a:pt x="2" y="0"/>
                    </a:cubicBezTo>
                  </a:path>
                </a:pathLst>
              </a:custGeom>
              <a:solidFill>
                <a:srgbClr val="D2A5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71" name="Freeform 116">
                <a:extLst>
                  <a:ext uri="{FF2B5EF4-FFF2-40B4-BE49-F238E27FC236}">
                    <a16:creationId xmlns:a16="http://schemas.microsoft.com/office/drawing/2014/main" id="{842D191C-ABA0-44B2-9C71-C6018BDF01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82523" y="1305859"/>
                <a:ext cx="204787" cy="153988"/>
              </a:xfrm>
              <a:custGeom>
                <a:avLst/>
                <a:gdLst>
                  <a:gd name="T0" fmla="*/ 82 w 82"/>
                  <a:gd name="T1" fmla="*/ 52 h 62"/>
                  <a:gd name="T2" fmla="*/ 65 w 82"/>
                  <a:gd name="T3" fmla="*/ 60 h 62"/>
                  <a:gd name="T4" fmla="*/ 0 w 82"/>
                  <a:gd name="T5" fmla="*/ 0 h 62"/>
                  <a:gd name="T6" fmla="*/ 82 w 82"/>
                  <a:gd name="T7" fmla="*/ 5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2" h="62">
                    <a:moveTo>
                      <a:pt x="82" y="52"/>
                    </a:moveTo>
                    <a:cubicBezTo>
                      <a:pt x="77" y="56"/>
                      <a:pt x="72" y="59"/>
                      <a:pt x="65" y="60"/>
                    </a:cubicBezTo>
                    <a:cubicBezTo>
                      <a:pt x="39" y="62"/>
                      <a:pt x="13" y="24"/>
                      <a:pt x="0" y="0"/>
                    </a:cubicBezTo>
                    <a:cubicBezTo>
                      <a:pt x="22" y="0"/>
                      <a:pt x="68" y="7"/>
                      <a:pt x="82" y="52"/>
                    </a:cubicBezTo>
                  </a:path>
                </a:pathLst>
              </a:custGeom>
              <a:solidFill>
                <a:srgbClr val="E4AC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72" name="Freeform 117">
                <a:extLst>
                  <a:ext uri="{FF2B5EF4-FFF2-40B4-BE49-F238E27FC236}">
                    <a16:creationId xmlns:a16="http://schemas.microsoft.com/office/drawing/2014/main" id="{4D587F4B-51CC-4A59-8D89-859F04E35A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3473" y="1232834"/>
                <a:ext cx="319087" cy="203200"/>
              </a:xfrm>
              <a:custGeom>
                <a:avLst/>
                <a:gdLst>
                  <a:gd name="T0" fmla="*/ 1 w 128"/>
                  <a:gd name="T1" fmla="*/ 9 h 81"/>
                  <a:gd name="T2" fmla="*/ 128 w 128"/>
                  <a:gd name="T3" fmla="*/ 0 h 81"/>
                  <a:gd name="T4" fmla="*/ 90 w 128"/>
                  <a:gd name="T5" fmla="*/ 81 h 81"/>
                  <a:gd name="T6" fmla="*/ 8 w 128"/>
                  <a:gd name="T7" fmla="*/ 29 h 81"/>
                  <a:gd name="T8" fmla="*/ 1 w 128"/>
                  <a:gd name="T9" fmla="*/ 9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8" h="81">
                    <a:moveTo>
                      <a:pt x="1" y="9"/>
                    </a:moveTo>
                    <a:cubicBezTo>
                      <a:pt x="5" y="6"/>
                      <a:pt x="128" y="0"/>
                      <a:pt x="128" y="0"/>
                    </a:cubicBezTo>
                    <a:cubicBezTo>
                      <a:pt x="128" y="0"/>
                      <a:pt x="116" y="59"/>
                      <a:pt x="90" y="81"/>
                    </a:cubicBezTo>
                    <a:cubicBezTo>
                      <a:pt x="76" y="36"/>
                      <a:pt x="30" y="29"/>
                      <a:pt x="8" y="29"/>
                    </a:cubicBezTo>
                    <a:cubicBezTo>
                      <a:pt x="3" y="18"/>
                      <a:pt x="0" y="9"/>
                      <a:pt x="1" y="9"/>
                    </a:cubicBezTo>
                  </a:path>
                </a:pathLst>
              </a:custGeom>
              <a:solidFill>
                <a:srgbClr val="7A43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73" name="Freeform 118">
                <a:extLst>
                  <a:ext uri="{FF2B5EF4-FFF2-40B4-BE49-F238E27FC236}">
                    <a16:creationId xmlns:a16="http://schemas.microsoft.com/office/drawing/2014/main" id="{09DE6394-B15A-4C00-BF5E-9B3FF567FE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33311" y="1056622"/>
                <a:ext cx="128587" cy="77788"/>
              </a:xfrm>
              <a:custGeom>
                <a:avLst/>
                <a:gdLst>
                  <a:gd name="T0" fmla="*/ 52 w 52"/>
                  <a:gd name="T1" fmla="*/ 21 h 31"/>
                  <a:gd name="T2" fmla="*/ 24 w 52"/>
                  <a:gd name="T3" fmla="*/ 5 h 31"/>
                  <a:gd name="T4" fmla="*/ 2 w 52"/>
                  <a:gd name="T5" fmla="*/ 31 h 31"/>
                  <a:gd name="T6" fmla="*/ 52 w 52"/>
                  <a:gd name="T7" fmla="*/ 2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31">
                    <a:moveTo>
                      <a:pt x="52" y="21"/>
                    </a:moveTo>
                    <a:cubicBezTo>
                      <a:pt x="52" y="21"/>
                      <a:pt x="40" y="2"/>
                      <a:pt x="24" y="5"/>
                    </a:cubicBezTo>
                    <a:cubicBezTo>
                      <a:pt x="9" y="9"/>
                      <a:pt x="0" y="21"/>
                      <a:pt x="2" y="31"/>
                    </a:cubicBezTo>
                    <a:cubicBezTo>
                      <a:pt x="2" y="31"/>
                      <a:pt x="19" y="0"/>
                      <a:pt x="52" y="21"/>
                    </a:cubicBezTo>
                  </a:path>
                </a:pathLst>
              </a:custGeom>
              <a:solidFill>
                <a:srgbClr val="1314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74" name="Freeform 119">
                <a:extLst>
                  <a:ext uri="{FF2B5EF4-FFF2-40B4-BE49-F238E27FC236}">
                    <a16:creationId xmlns:a16="http://schemas.microsoft.com/office/drawing/2014/main" id="{B39E159B-149A-4505-AA36-2F3B912BBF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9373" y="1035984"/>
                <a:ext cx="109537" cy="65088"/>
              </a:xfrm>
              <a:custGeom>
                <a:avLst/>
                <a:gdLst>
                  <a:gd name="T0" fmla="*/ 44 w 44"/>
                  <a:gd name="T1" fmla="*/ 18 h 26"/>
                  <a:gd name="T2" fmla="*/ 20 w 44"/>
                  <a:gd name="T3" fmla="*/ 4 h 26"/>
                  <a:gd name="T4" fmla="*/ 1 w 44"/>
                  <a:gd name="T5" fmla="*/ 26 h 26"/>
                  <a:gd name="T6" fmla="*/ 44 w 44"/>
                  <a:gd name="T7" fmla="*/ 18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4" h="26">
                    <a:moveTo>
                      <a:pt x="44" y="18"/>
                    </a:moveTo>
                    <a:cubicBezTo>
                      <a:pt x="44" y="18"/>
                      <a:pt x="33" y="1"/>
                      <a:pt x="20" y="4"/>
                    </a:cubicBezTo>
                    <a:cubicBezTo>
                      <a:pt x="7" y="7"/>
                      <a:pt x="0" y="17"/>
                      <a:pt x="1" y="26"/>
                    </a:cubicBezTo>
                    <a:cubicBezTo>
                      <a:pt x="1" y="26"/>
                      <a:pt x="16" y="0"/>
                      <a:pt x="44" y="18"/>
                    </a:cubicBezTo>
                  </a:path>
                </a:pathLst>
              </a:custGeom>
              <a:solidFill>
                <a:srgbClr val="1314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75" name="Freeform 120">
                <a:extLst>
                  <a:ext uri="{FF2B5EF4-FFF2-40B4-BE49-F238E27FC236}">
                    <a16:creationId xmlns:a16="http://schemas.microsoft.com/office/drawing/2014/main" id="{247CB267-D93F-4FA4-921C-D13EDEBD2D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11086" y="916922"/>
                <a:ext cx="122237" cy="87313"/>
              </a:xfrm>
              <a:custGeom>
                <a:avLst/>
                <a:gdLst>
                  <a:gd name="T0" fmla="*/ 49 w 49"/>
                  <a:gd name="T1" fmla="*/ 11 h 35"/>
                  <a:gd name="T2" fmla="*/ 0 w 49"/>
                  <a:gd name="T3" fmla="*/ 35 h 35"/>
                  <a:gd name="T4" fmla="*/ 49 w 49"/>
                  <a:gd name="T5" fmla="*/ 1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9" h="35">
                    <a:moveTo>
                      <a:pt x="49" y="11"/>
                    </a:moveTo>
                    <a:cubicBezTo>
                      <a:pt x="49" y="11"/>
                      <a:pt x="7" y="23"/>
                      <a:pt x="0" y="35"/>
                    </a:cubicBezTo>
                    <a:cubicBezTo>
                      <a:pt x="0" y="35"/>
                      <a:pt x="0" y="0"/>
                      <a:pt x="49" y="11"/>
                    </a:cubicBezTo>
                  </a:path>
                </a:pathLst>
              </a:custGeom>
              <a:solidFill>
                <a:srgbClr val="44240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76" name="Freeform 121">
                <a:extLst>
                  <a:ext uri="{FF2B5EF4-FFF2-40B4-BE49-F238E27FC236}">
                    <a16:creationId xmlns:a16="http://schemas.microsoft.com/office/drawing/2014/main" id="{B2AEB47A-032E-468E-9003-A15D29740B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66673" y="889934"/>
                <a:ext cx="115887" cy="96838"/>
              </a:xfrm>
              <a:custGeom>
                <a:avLst/>
                <a:gdLst>
                  <a:gd name="T0" fmla="*/ 0 w 46"/>
                  <a:gd name="T1" fmla="*/ 21 h 39"/>
                  <a:gd name="T2" fmla="*/ 46 w 46"/>
                  <a:gd name="T3" fmla="*/ 39 h 39"/>
                  <a:gd name="T4" fmla="*/ 0 w 46"/>
                  <a:gd name="T5" fmla="*/ 2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6" h="39">
                    <a:moveTo>
                      <a:pt x="0" y="21"/>
                    </a:moveTo>
                    <a:cubicBezTo>
                      <a:pt x="0" y="21"/>
                      <a:pt x="28" y="0"/>
                      <a:pt x="46" y="39"/>
                    </a:cubicBezTo>
                    <a:cubicBezTo>
                      <a:pt x="46" y="39"/>
                      <a:pt x="23" y="20"/>
                      <a:pt x="0" y="21"/>
                    </a:cubicBezTo>
                  </a:path>
                </a:pathLst>
              </a:custGeom>
              <a:solidFill>
                <a:srgbClr val="44240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77" name="Freeform 122">
                <a:extLst>
                  <a:ext uri="{FF2B5EF4-FFF2-40B4-BE49-F238E27FC236}">
                    <a16:creationId xmlns:a16="http://schemas.microsoft.com/office/drawing/2014/main" id="{F88C1521-EF1A-43A1-AC49-F5668FE116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90423" y="1101072"/>
                <a:ext cx="174625" cy="201613"/>
              </a:xfrm>
              <a:custGeom>
                <a:avLst/>
                <a:gdLst>
                  <a:gd name="T0" fmla="*/ 47 w 70"/>
                  <a:gd name="T1" fmla="*/ 21 h 81"/>
                  <a:gd name="T2" fmla="*/ 11 w 70"/>
                  <a:gd name="T3" fmla="*/ 13 h 81"/>
                  <a:gd name="T4" fmla="*/ 29 w 70"/>
                  <a:gd name="T5" fmla="*/ 68 h 81"/>
                  <a:gd name="T6" fmla="*/ 62 w 70"/>
                  <a:gd name="T7" fmla="*/ 68 h 81"/>
                  <a:gd name="T8" fmla="*/ 47 w 70"/>
                  <a:gd name="T9" fmla="*/ 2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81">
                    <a:moveTo>
                      <a:pt x="47" y="21"/>
                    </a:moveTo>
                    <a:cubicBezTo>
                      <a:pt x="47" y="21"/>
                      <a:pt x="23" y="0"/>
                      <a:pt x="11" y="13"/>
                    </a:cubicBezTo>
                    <a:cubicBezTo>
                      <a:pt x="0" y="27"/>
                      <a:pt x="13" y="62"/>
                      <a:pt x="29" y="68"/>
                    </a:cubicBezTo>
                    <a:cubicBezTo>
                      <a:pt x="45" y="73"/>
                      <a:pt x="55" y="81"/>
                      <a:pt x="62" y="68"/>
                    </a:cubicBezTo>
                    <a:cubicBezTo>
                      <a:pt x="70" y="55"/>
                      <a:pt x="47" y="21"/>
                      <a:pt x="47" y="21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78" name="Freeform 123">
                <a:extLst>
                  <a:ext uri="{FF2B5EF4-FFF2-40B4-BE49-F238E27FC236}">
                    <a16:creationId xmlns:a16="http://schemas.microsoft.com/office/drawing/2014/main" id="{CF1FABEC-359F-4026-AA9C-338282B4EF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11136" y="1029634"/>
                <a:ext cx="69850" cy="201613"/>
              </a:xfrm>
              <a:custGeom>
                <a:avLst/>
                <a:gdLst>
                  <a:gd name="T0" fmla="*/ 9 w 28"/>
                  <a:gd name="T1" fmla="*/ 18 h 81"/>
                  <a:gd name="T2" fmla="*/ 21 w 28"/>
                  <a:gd name="T3" fmla="*/ 16 h 81"/>
                  <a:gd name="T4" fmla="*/ 14 w 28"/>
                  <a:gd name="T5" fmla="*/ 78 h 81"/>
                  <a:gd name="T6" fmla="*/ 9 w 28"/>
                  <a:gd name="T7" fmla="*/ 18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81">
                    <a:moveTo>
                      <a:pt x="9" y="18"/>
                    </a:moveTo>
                    <a:cubicBezTo>
                      <a:pt x="9" y="18"/>
                      <a:pt x="18" y="0"/>
                      <a:pt x="21" y="16"/>
                    </a:cubicBezTo>
                    <a:cubicBezTo>
                      <a:pt x="24" y="32"/>
                      <a:pt x="28" y="75"/>
                      <a:pt x="14" y="78"/>
                    </a:cubicBezTo>
                    <a:cubicBezTo>
                      <a:pt x="0" y="81"/>
                      <a:pt x="9" y="18"/>
                      <a:pt x="9" y="18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79" name="Freeform 124">
                <a:extLst>
                  <a:ext uri="{FF2B5EF4-FFF2-40B4-BE49-F238E27FC236}">
                    <a16:creationId xmlns:a16="http://schemas.microsoft.com/office/drawing/2014/main" id="{42E82316-6BA3-424A-88AA-CD86B700A1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3286" y="1151872"/>
                <a:ext cx="100012" cy="119063"/>
              </a:xfrm>
              <a:custGeom>
                <a:avLst/>
                <a:gdLst>
                  <a:gd name="T0" fmla="*/ 10 w 40"/>
                  <a:gd name="T1" fmla="*/ 10 h 48"/>
                  <a:gd name="T2" fmla="*/ 36 w 40"/>
                  <a:gd name="T3" fmla="*/ 33 h 48"/>
                  <a:gd name="T4" fmla="*/ 10 w 40"/>
                  <a:gd name="T5" fmla="*/ 37 h 48"/>
                  <a:gd name="T6" fmla="*/ 10 w 40"/>
                  <a:gd name="T7" fmla="*/ 1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48">
                    <a:moveTo>
                      <a:pt x="10" y="10"/>
                    </a:moveTo>
                    <a:cubicBezTo>
                      <a:pt x="16" y="0"/>
                      <a:pt x="40" y="21"/>
                      <a:pt x="36" y="33"/>
                    </a:cubicBezTo>
                    <a:cubicBezTo>
                      <a:pt x="32" y="44"/>
                      <a:pt x="17" y="48"/>
                      <a:pt x="10" y="37"/>
                    </a:cubicBezTo>
                    <a:cubicBezTo>
                      <a:pt x="0" y="22"/>
                      <a:pt x="6" y="16"/>
                      <a:pt x="10" y="10"/>
                    </a:cubicBezTo>
                  </a:path>
                </a:pathLst>
              </a:custGeom>
              <a:solidFill>
                <a:srgbClr val="4E5F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80" name="Freeform 125">
                <a:extLst>
                  <a:ext uri="{FF2B5EF4-FFF2-40B4-BE49-F238E27FC236}">
                    <a16:creationId xmlns:a16="http://schemas.microsoft.com/office/drawing/2014/main" id="{E3AE4C6F-A42B-4349-9265-498511681F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27011" y="1093134"/>
                <a:ext cx="69850" cy="87313"/>
              </a:xfrm>
              <a:custGeom>
                <a:avLst/>
                <a:gdLst>
                  <a:gd name="T0" fmla="*/ 17 w 28"/>
                  <a:gd name="T1" fmla="*/ 3 h 35"/>
                  <a:gd name="T2" fmla="*/ 27 w 28"/>
                  <a:gd name="T3" fmla="*/ 16 h 35"/>
                  <a:gd name="T4" fmla="*/ 9 w 28"/>
                  <a:gd name="T5" fmla="*/ 35 h 35"/>
                  <a:gd name="T6" fmla="*/ 17 w 28"/>
                  <a:gd name="T7" fmla="*/ 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35">
                    <a:moveTo>
                      <a:pt x="17" y="3"/>
                    </a:moveTo>
                    <a:cubicBezTo>
                      <a:pt x="17" y="3"/>
                      <a:pt x="26" y="0"/>
                      <a:pt x="27" y="16"/>
                    </a:cubicBezTo>
                    <a:cubicBezTo>
                      <a:pt x="28" y="32"/>
                      <a:pt x="9" y="35"/>
                      <a:pt x="9" y="35"/>
                    </a:cubicBezTo>
                    <a:cubicBezTo>
                      <a:pt x="9" y="35"/>
                      <a:pt x="0" y="11"/>
                      <a:pt x="17" y="3"/>
                    </a:cubicBezTo>
                  </a:path>
                </a:pathLst>
              </a:custGeom>
              <a:solidFill>
                <a:srgbClr val="4E5F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81" name="Freeform 126">
                <a:extLst>
                  <a:ext uri="{FF2B5EF4-FFF2-40B4-BE49-F238E27FC236}">
                    <a16:creationId xmlns:a16="http://schemas.microsoft.com/office/drawing/2014/main" id="{A4A37D56-704F-4654-8941-328A029B40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69748" y="1135997"/>
                <a:ext cx="1116012" cy="1506538"/>
              </a:xfrm>
              <a:custGeom>
                <a:avLst/>
                <a:gdLst>
                  <a:gd name="T0" fmla="*/ 164 w 448"/>
                  <a:gd name="T1" fmla="*/ 48 h 604"/>
                  <a:gd name="T2" fmla="*/ 302 w 448"/>
                  <a:gd name="T3" fmla="*/ 215 h 604"/>
                  <a:gd name="T4" fmla="*/ 278 w 448"/>
                  <a:gd name="T5" fmla="*/ 439 h 604"/>
                  <a:gd name="T6" fmla="*/ 126 w 448"/>
                  <a:gd name="T7" fmla="*/ 576 h 604"/>
                  <a:gd name="T8" fmla="*/ 13 w 448"/>
                  <a:gd name="T9" fmla="*/ 499 h 604"/>
                  <a:gd name="T10" fmla="*/ 13 w 448"/>
                  <a:gd name="T11" fmla="*/ 474 h 604"/>
                  <a:gd name="T12" fmla="*/ 0 w 448"/>
                  <a:gd name="T13" fmla="*/ 474 h 604"/>
                  <a:gd name="T14" fmla="*/ 0 w 448"/>
                  <a:gd name="T15" fmla="*/ 498 h 604"/>
                  <a:gd name="T16" fmla="*/ 124 w 448"/>
                  <a:gd name="T17" fmla="*/ 592 h 604"/>
                  <a:gd name="T18" fmla="*/ 295 w 448"/>
                  <a:gd name="T19" fmla="*/ 442 h 604"/>
                  <a:gd name="T20" fmla="*/ 320 w 448"/>
                  <a:gd name="T21" fmla="*/ 217 h 604"/>
                  <a:gd name="T22" fmla="*/ 409 w 448"/>
                  <a:gd name="T23" fmla="*/ 8 h 604"/>
                  <a:gd name="T24" fmla="*/ 402 w 448"/>
                  <a:gd name="T25" fmla="*/ 15 h 604"/>
                  <a:gd name="T26" fmla="*/ 315 w 448"/>
                  <a:gd name="T27" fmla="*/ 203 h 604"/>
                  <a:gd name="T28" fmla="*/ 174 w 448"/>
                  <a:gd name="T29" fmla="*/ 48 h 604"/>
                  <a:gd name="T30" fmla="*/ 164 w 448"/>
                  <a:gd name="T31" fmla="*/ 48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48" h="604">
                    <a:moveTo>
                      <a:pt x="164" y="48"/>
                    </a:moveTo>
                    <a:cubicBezTo>
                      <a:pt x="164" y="48"/>
                      <a:pt x="182" y="167"/>
                      <a:pt x="302" y="215"/>
                    </a:cubicBezTo>
                    <a:cubicBezTo>
                      <a:pt x="302" y="215"/>
                      <a:pt x="302" y="355"/>
                      <a:pt x="278" y="439"/>
                    </a:cubicBezTo>
                    <a:cubicBezTo>
                      <a:pt x="253" y="522"/>
                      <a:pt x="198" y="587"/>
                      <a:pt x="126" y="576"/>
                    </a:cubicBezTo>
                    <a:cubicBezTo>
                      <a:pt x="55" y="564"/>
                      <a:pt x="13" y="499"/>
                      <a:pt x="13" y="499"/>
                    </a:cubicBezTo>
                    <a:cubicBezTo>
                      <a:pt x="13" y="474"/>
                      <a:pt x="13" y="474"/>
                      <a:pt x="13" y="474"/>
                    </a:cubicBezTo>
                    <a:cubicBezTo>
                      <a:pt x="0" y="474"/>
                      <a:pt x="0" y="474"/>
                      <a:pt x="0" y="474"/>
                    </a:cubicBezTo>
                    <a:cubicBezTo>
                      <a:pt x="0" y="498"/>
                      <a:pt x="0" y="498"/>
                      <a:pt x="0" y="498"/>
                    </a:cubicBezTo>
                    <a:cubicBezTo>
                      <a:pt x="0" y="498"/>
                      <a:pt x="36" y="579"/>
                      <a:pt x="124" y="592"/>
                    </a:cubicBezTo>
                    <a:cubicBezTo>
                      <a:pt x="213" y="604"/>
                      <a:pt x="265" y="535"/>
                      <a:pt x="295" y="442"/>
                    </a:cubicBezTo>
                    <a:cubicBezTo>
                      <a:pt x="324" y="350"/>
                      <a:pt x="320" y="217"/>
                      <a:pt x="320" y="217"/>
                    </a:cubicBezTo>
                    <a:cubicBezTo>
                      <a:pt x="320" y="217"/>
                      <a:pt x="448" y="153"/>
                      <a:pt x="409" y="8"/>
                    </a:cubicBezTo>
                    <a:cubicBezTo>
                      <a:pt x="409" y="8"/>
                      <a:pt x="399" y="0"/>
                      <a:pt x="402" y="15"/>
                    </a:cubicBezTo>
                    <a:cubicBezTo>
                      <a:pt x="404" y="29"/>
                      <a:pt x="428" y="142"/>
                      <a:pt x="315" y="203"/>
                    </a:cubicBezTo>
                    <a:cubicBezTo>
                      <a:pt x="315" y="203"/>
                      <a:pt x="215" y="175"/>
                      <a:pt x="174" y="48"/>
                    </a:cubicBezTo>
                    <a:cubicBezTo>
                      <a:pt x="174" y="48"/>
                      <a:pt x="165" y="27"/>
                      <a:pt x="164" y="48"/>
                    </a:cubicBezTo>
                  </a:path>
                </a:pathLst>
              </a:custGeom>
              <a:solidFill>
                <a:srgbClr val="4E5F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82" name="Freeform 127">
                <a:extLst>
                  <a:ext uri="{FF2B5EF4-FFF2-40B4-BE49-F238E27FC236}">
                    <a16:creationId xmlns:a16="http://schemas.microsoft.com/office/drawing/2014/main" id="{33E8F8F2-8B1D-492D-8EF9-453389284D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64973" y="1824972"/>
                <a:ext cx="169862" cy="508000"/>
              </a:xfrm>
              <a:custGeom>
                <a:avLst/>
                <a:gdLst>
                  <a:gd name="T0" fmla="*/ 36 w 68"/>
                  <a:gd name="T1" fmla="*/ 189 h 204"/>
                  <a:gd name="T2" fmla="*/ 21 w 68"/>
                  <a:gd name="T3" fmla="*/ 24 h 204"/>
                  <a:gd name="T4" fmla="*/ 0 w 68"/>
                  <a:gd name="T5" fmla="*/ 2 h 204"/>
                  <a:gd name="T6" fmla="*/ 19 w 68"/>
                  <a:gd name="T7" fmla="*/ 0 h 204"/>
                  <a:gd name="T8" fmla="*/ 42 w 68"/>
                  <a:gd name="T9" fmla="*/ 24 h 204"/>
                  <a:gd name="T10" fmla="*/ 55 w 68"/>
                  <a:gd name="T11" fmla="*/ 198 h 204"/>
                  <a:gd name="T12" fmla="*/ 18 w 68"/>
                  <a:gd name="T13" fmla="*/ 204 h 204"/>
                  <a:gd name="T14" fmla="*/ 36 w 68"/>
                  <a:gd name="T15" fmla="*/ 189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8" h="204">
                    <a:moveTo>
                      <a:pt x="36" y="189"/>
                    </a:moveTo>
                    <a:cubicBezTo>
                      <a:pt x="41" y="176"/>
                      <a:pt x="26" y="46"/>
                      <a:pt x="21" y="24"/>
                    </a:cubicBezTo>
                    <a:cubicBezTo>
                      <a:pt x="18" y="10"/>
                      <a:pt x="7" y="4"/>
                      <a:pt x="0" y="2"/>
                    </a:cubicBezTo>
                    <a:cubicBezTo>
                      <a:pt x="10" y="0"/>
                      <a:pt x="17" y="0"/>
                      <a:pt x="19" y="0"/>
                    </a:cubicBezTo>
                    <a:cubicBezTo>
                      <a:pt x="27" y="1"/>
                      <a:pt x="36" y="5"/>
                      <a:pt x="42" y="24"/>
                    </a:cubicBezTo>
                    <a:cubicBezTo>
                      <a:pt x="47" y="42"/>
                      <a:pt x="68" y="192"/>
                      <a:pt x="55" y="198"/>
                    </a:cubicBezTo>
                    <a:cubicBezTo>
                      <a:pt x="50" y="200"/>
                      <a:pt x="35" y="202"/>
                      <a:pt x="18" y="204"/>
                    </a:cubicBezTo>
                    <a:cubicBezTo>
                      <a:pt x="25" y="201"/>
                      <a:pt x="33" y="197"/>
                      <a:pt x="36" y="189"/>
                    </a:cubicBezTo>
                  </a:path>
                </a:pathLst>
              </a:custGeom>
              <a:solidFill>
                <a:srgbClr val="647F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83" name="Freeform 128">
                <a:extLst>
                  <a:ext uri="{FF2B5EF4-FFF2-40B4-BE49-F238E27FC236}">
                    <a16:creationId xmlns:a16="http://schemas.microsoft.com/office/drawing/2014/main" id="{8F9D5A8D-7498-41E1-B7D3-81390A96F9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3673" y="1829734"/>
                <a:ext cx="342900" cy="515938"/>
              </a:xfrm>
              <a:custGeom>
                <a:avLst/>
                <a:gdLst>
                  <a:gd name="T0" fmla="*/ 17 w 138"/>
                  <a:gd name="T1" fmla="*/ 12 h 207"/>
                  <a:gd name="T2" fmla="*/ 97 w 138"/>
                  <a:gd name="T3" fmla="*/ 0 h 207"/>
                  <a:gd name="T4" fmla="*/ 118 w 138"/>
                  <a:gd name="T5" fmla="*/ 22 h 207"/>
                  <a:gd name="T6" fmla="*/ 133 w 138"/>
                  <a:gd name="T7" fmla="*/ 187 h 207"/>
                  <a:gd name="T8" fmla="*/ 115 w 138"/>
                  <a:gd name="T9" fmla="*/ 202 h 207"/>
                  <a:gd name="T10" fmla="*/ 41 w 138"/>
                  <a:gd name="T11" fmla="*/ 203 h 207"/>
                  <a:gd name="T12" fmla="*/ 17 w 138"/>
                  <a:gd name="T13" fmla="*/ 12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8" h="207">
                    <a:moveTo>
                      <a:pt x="17" y="12"/>
                    </a:moveTo>
                    <a:cubicBezTo>
                      <a:pt x="35" y="9"/>
                      <a:pt x="74" y="3"/>
                      <a:pt x="97" y="0"/>
                    </a:cubicBezTo>
                    <a:cubicBezTo>
                      <a:pt x="104" y="2"/>
                      <a:pt x="115" y="8"/>
                      <a:pt x="118" y="22"/>
                    </a:cubicBezTo>
                    <a:cubicBezTo>
                      <a:pt x="123" y="44"/>
                      <a:pt x="138" y="174"/>
                      <a:pt x="133" y="187"/>
                    </a:cubicBezTo>
                    <a:cubicBezTo>
                      <a:pt x="130" y="195"/>
                      <a:pt x="122" y="199"/>
                      <a:pt x="115" y="202"/>
                    </a:cubicBezTo>
                    <a:cubicBezTo>
                      <a:pt x="86" y="205"/>
                      <a:pt x="50" y="207"/>
                      <a:pt x="41" y="203"/>
                    </a:cubicBezTo>
                    <a:cubicBezTo>
                      <a:pt x="26" y="197"/>
                      <a:pt x="0" y="15"/>
                      <a:pt x="17" y="12"/>
                    </a:cubicBezTo>
                  </a:path>
                </a:pathLst>
              </a:custGeom>
              <a:solidFill>
                <a:srgbClr val="4E5F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84" name="Freeform 129">
                <a:extLst>
                  <a:ext uri="{FF2B5EF4-FFF2-40B4-BE49-F238E27FC236}">
                    <a16:creationId xmlns:a16="http://schemas.microsoft.com/office/drawing/2014/main" id="{54C0D691-ADEA-4BE9-AA39-395E20EB3E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0823" y="1874184"/>
                <a:ext cx="92075" cy="53975"/>
              </a:xfrm>
              <a:custGeom>
                <a:avLst/>
                <a:gdLst>
                  <a:gd name="T0" fmla="*/ 1 w 37"/>
                  <a:gd name="T1" fmla="*/ 13 h 22"/>
                  <a:gd name="T2" fmla="*/ 12 w 37"/>
                  <a:gd name="T3" fmla="*/ 22 h 22"/>
                  <a:gd name="T4" fmla="*/ 28 w 37"/>
                  <a:gd name="T5" fmla="*/ 20 h 22"/>
                  <a:gd name="T6" fmla="*/ 37 w 37"/>
                  <a:gd name="T7" fmla="*/ 9 h 22"/>
                  <a:gd name="T8" fmla="*/ 26 w 37"/>
                  <a:gd name="T9" fmla="*/ 0 h 22"/>
                  <a:gd name="T10" fmla="*/ 10 w 37"/>
                  <a:gd name="T11" fmla="*/ 2 h 22"/>
                  <a:gd name="T12" fmla="*/ 1 w 37"/>
                  <a:gd name="T13" fmla="*/ 1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" h="22">
                    <a:moveTo>
                      <a:pt x="1" y="13"/>
                    </a:moveTo>
                    <a:cubicBezTo>
                      <a:pt x="1" y="18"/>
                      <a:pt x="6" y="22"/>
                      <a:pt x="12" y="22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33" y="20"/>
                      <a:pt x="37" y="15"/>
                      <a:pt x="37" y="9"/>
                    </a:cubicBezTo>
                    <a:cubicBezTo>
                      <a:pt x="37" y="4"/>
                      <a:pt x="32" y="0"/>
                      <a:pt x="26" y="0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5" y="2"/>
                      <a:pt x="0" y="7"/>
                      <a:pt x="1" y="1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85" name="Freeform 130">
                <a:extLst>
                  <a:ext uri="{FF2B5EF4-FFF2-40B4-BE49-F238E27FC236}">
                    <a16:creationId xmlns:a16="http://schemas.microsoft.com/office/drawing/2014/main" id="{81F5D0F6-94D7-4CA0-92A4-02134C414A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14186" y="1659872"/>
                <a:ext cx="39687" cy="106363"/>
              </a:xfrm>
              <a:custGeom>
                <a:avLst/>
                <a:gdLst>
                  <a:gd name="T0" fmla="*/ 16 w 16"/>
                  <a:gd name="T1" fmla="*/ 7 h 43"/>
                  <a:gd name="T2" fmla="*/ 6 w 16"/>
                  <a:gd name="T3" fmla="*/ 5 h 43"/>
                  <a:gd name="T4" fmla="*/ 0 w 16"/>
                  <a:gd name="T5" fmla="*/ 37 h 43"/>
                  <a:gd name="T6" fmla="*/ 10 w 16"/>
                  <a:gd name="T7" fmla="*/ 37 h 43"/>
                  <a:gd name="T8" fmla="*/ 16 w 16"/>
                  <a:gd name="T9" fmla="*/ 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43">
                    <a:moveTo>
                      <a:pt x="16" y="7"/>
                    </a:moveTo>
                    <a:cubicBezTo>
                      <a:pt x="15" y="2"/>
                      <a:pt x="8" y="0"/>
                      <a:pt x="6" y="5"/>
                    </a:cubicBezTo>
                    <a:cubicBezTo>
                      <a:pt x="3" y="14"/>
                      <a:pt x="0" y="26"/>
                      <a:pt x="0" y="37"/>
                    </a:cubicBezTo>
                    <a:cubicBezTo>
                      <a:pt x="0" y="43"/>
                      <a:pt x="9" y="42"/>
                      <a:pt x="10" y="37"/>
                    </a:cubicBezTo>
                    <a:cubicBezTo>
                      <a:pt x="13" y="28"/>
                      <a:pt x="16" y="16"/>
                      <a:pt x="16" y="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86" name="Freeform 131">
                <a:extLst>
                  <a:ext uri="{FF2B5EF4-FFF2-40B4-BE49-F238E27FC236}">
                    <a16:creationId xmlns:a16="http://schemas.microsoft.com/office/drawing/2014/main" id="{6C5B75B1-D179-4CC6-8320-49830ED21C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1786" y="1651934"/>
                <a:ext cx="41275" cy="92075"/>
              </a:xfrm>
              <a:custGeom>
                <a:avLst/>
                <a:gdLst>
                  <a:gd name="T0" fmla="*/ 9 w 16"/>
                  <a:gd name="T1" fmla="*/ 6 h 37"/>
                  <a:gd name="T2" fmla="*/ 0 w 16"/>
                  <a:gd name="T3" fmla="*/ 8 h 37"/>
                  <a:gd name="T4" fmla="*/ 6 w 16"/>
                  <a:gd name="T5" fmla="*/ 33 h 37"/>
                  <a:gd name="T6" fmla="*/ 15 w 16"/>
                  <a:gd name="T7" fmla="*/ 31 h 37"/>
                  <a:gd name="T8" fmla="*/ 9 w 16"/>
                  <a:gd name="T9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37">
                    <a:moveTo>
                      <a:pt x="9" y="6"/>
                    </a:moveTo>
                    <a:cubicBezTo>
                      <a:pt x="8" y="0"/>
                      <a:pt x="0" y="3"/>
                      <a:pt x="0" y="8"/>
                    </a:cubicBezTo>
                    <a:cubicBezTo>
                      <a:pt x="0" y="16"/>
                      <a:pt x="2" y="25"/>
                      <a:pt x="6" y="33"/>
                    </a:cubicBezTo>
                    <a:cubicBezTo>
                      <a:pt x="8" y="37"/>
                      <a:pt x="16" y="37"/>
                      <a:pt x="15" y="31"/>
                    </a:cubicBezTo>
                    <a:cubicBezTo>
                      <a:pt x="13" y="23"/>
                      <a:pt x="12" y="14"/>
                      <a:pt x="9" y="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87" name="Freeform 132">
                <a:extLst>
                  <a:ext uri="{FF2B5EF4-FFF2-40B4-BE49-F238E27FC236}">
                    <a16:creationId xmlns:a16="http://schemas.microsoft.com/office/drawing/2014/main" id="{D364CA21-1C4D-4C9F-9CA7-C7BE412770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5261" y="1712259"/>
                <a:ext cx="66675" cy="84138"/>
              </a:xfrm>
              <a:custGeom>
                <a:avLst/>
                <a:gdLst>
                  <a:gd name="T0" fmla="*/ 24 w 27"/>
                  <a:gd name="T1" fmla="*/ 23 h 34"/>
                  <a:gd name="T2" fmla="*/ 10 w 27"/>
                  <a:gd name="T3" fmla="*/ 3 h 34"/>
                  <a:gd name="T4" fmla="*/ 2 w 27"/>
                  <a:gd name="T5" fmla="*/ 8 h 34"/>
                  <a:gd name="T6" fmla="*/ 17 w 27"/>
                  <a:gd name="T7" fmla="*/ 30 h 34"/>
                  <a:gd name="T8" fmla="*/ 24 w 27"/>
                  <a:gd name="T9" fmla="*/ 2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34">
                    <a:moveTo>
                      <a:pt x="24" y="23"/>
                    </a:moveTo>
                    <a:cubicBezTo>
                      <a:pt x="19" y="17"/>
                      <a:pt x="15" y="9"/>
                      <a:pt x="10" y="3"/>
                    </a:cubicBezTo>
                    <a:cubicBezTo>
                      <a:pt x="7" y="0"/>
                      <a:pt x="0" y="2"/>
                      <a:pt x="2" y="8"/>
                    </a:cubicBezTo>
                    <a:cubicBezTo>
                      <a:pt x="6" y="16"/>
                      <a:pt x="11" y="23"/>
                      <a:pt x="17" y="30"/>
                    </a:cubicBezTo>
                    <a:cubicBezTo>
                      <a:pt x="21" y="34"/>
                      <a:pt x="27" y="28"/>
                      <a:pt x="24" y="2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88" name="Freeform 133">
                <a:extLst>
                  <a:ext uri="{FF2B5EF4-FFF2-40B4-BE49-F238E27FC236}">
                    <a16:creationId xmlns:a16="http://schemas.microsoft.com/office/drawing/2014/main" id="{99DAC48B-D7EF-46E7-BE00-0163484873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8898" y="1834497"/>
                <a:ext cx="66675" cy="47625"/>
              </a:xfrm>
              <a:custGeom>
                <a:avLst/>
                <a:gdLst>
                  <a:gd name="T0" fmla="*/ 25 w 27"/>
                  <a:gd name="T1" fmla="*/ 11 h 19"/>
                  <a:gd name="T2" fmla="*/ 8 w 27"/>
                  <a:gd name="T3" fmla="*/ 1 h 19"/>
                  <a:gd name="T4" fmla="*/ 2 w 27"/>
                  <a:gd name="T5" fmla="*/ 2 h 19"/>
                  <a:gd name="T6" fmla="*/ 3 w 27"/>
                  <a:gd name="T7" fmla="*/ 9 h 19"/>
                  <a:gd name="T8" fmla="*/ 20 w 27"/>
                  <a:gd name="T9" fmla="*/ 19 h 19"/>
                  <a:gd name="T10" fmla="*/ 25 w 27"/>
                  <a:gd name="T11" fmla="*/ 18 h 19"/>
                  <a:gd name="T12" fmla="*/ 25 w 27"/>
                  <a:gd name="T13" fmla="*/ 11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25" y="11"/>
                    </a:moveTo>
                    <a:cubicBezTo>
                      <a:pt x="20" y="7"/>
                      <a:pt x="14" y="3"/>
                      <a:pt x="8" y="1"/>
                    </a:cubicBezTo>
                    <a:cubicBezTo>
                      <a:pt x="6" y="0"/>
                      <a:pt x="4" y="0"/>
                      <a:pt x="2" y="2"/>
                    </a:cubicBezTo>
                    <a:cubicBezTo>
                      <a:pt x="0" y="4"/>
                      <a:pt x="0" y="7"/>
                      <a:pt x="3" y="9"/>
                    </a:cubicBezTo>
                    <a:cubicBezTo>
                      <a:pt x="8" y="13"/>
                      <a:pt x="13" y="17"/>
                      <a:pt x="20" y="19"/>
                    </a:cubicBezTo>
                    <a:cubicBezTo>
                      <a:pt x="22" y="19"/>
                      <a:pt x="24" y="19"/>
                      <a:pt x="25" y="18"/>
                    </a:cubicBezTo>
                    <a:cubicBezTo>
                      <a:pt x="27" y="16"/>
                      <a:pt x="27" y="12"/>
                      <a:pt x="25" y="1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  <p:sp>
            <p:nvSpPr>
              <p:cNvPr id="1089" name="Freeform 134">
                <a:extLst>
                  <a:ext uri="{FF2B5EF4-FFF2-40B4-BE49-F238E27FC236}">
                    <a16:creationId xmlns:a16="http://schemas.microsoft.com/office/drawing/2014/main" id="{D069BB91-1166-471A-B4CD-F961A0F140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0498" y="1921809"/>
                <a:ext cx="311150" cy="371475"/>
              </a:xfrm>
              <a:custGeom>
                <a:avLst/>
                <a:gdLst>
                  <a:gd name="T0" fmla="*/ 12 w 125"/>
                  <a:gd name="T1" fmla="*/ 0 h 149"/>
                  <a:gd name="T2" fmla="*/ 21 w 125"/>
                  <a:gd name="T3" fmla="*/ 28 h 149"/>
                  <a:gd name="T4" fmla="*/ 56 w 125"/>
                  <a:gd name="T5" fmla="*/ 34 h 149"/>
                  <a:gd name="T6" fmla="*/ 107 w 125"/>
                  <a:gd name="T7" fmla="*/ 45 h 149"/>
                  <a:gd name="T8" fmla="*/ 78 w 125"/>
                  <a:gd name="T9" fmla="*/ 65 h 149"/>
                  <a:gd name="T10" fmla="*/ 41 w 125"/>
                  <a:gd name="T11" fmla="*/ 75 h 149"/>
                  <a:gd name="T12" fmla="*/ 74 w 125"/>
                  <a:gd name="T13" fmla="*/ 81 h 149"/>
                  <a:gd name="T14" fmla="*/ 121 w 125"/>
                  <a:gd name="T15" fmla="*/ 90 h 149"/>
                  <a:gd name="T16" fmla="*/ 94 w 125"/>
                  <a:gd name="T17" fmla="*/ 111 h 149"/>
                  <a:gd name="T18" fmla="*/ 52 w 125"/>
                  <a:gd name="T19" fmla="*/ 118 h 149"/>
                  <a:gd name="T20" fmla="*/ 79 w 125"/>
                  <a:gd name="T21" fmla="*/ 125 h 149"/>
                  <a:gd name="T22" fmla="*/ 112 w 125"/>
                  <a:gd name="T23" fmla="*/ 135 h 149"/>
                  <a:gd name="T24" fmla="*/ 62 w 125"/>
                  <a:gd name="T25" fmla="*/ 149 h 149"/>
                  <a:gd name="T26" fmla="*/ 21 w 125"/>
                  <a:gd name="T27" fmla="*/ 135 h 149"/>
                  <a:gd name="T28" fmla="*/ 1 w 125"/>
                  <a:gd name="T29" fmla="*/ 46 h 149"/>
                  <a:gd name="T30" fmla="*/ 12 w 125"/>
                  <a:gd name="T31" fmla="*/ 0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5" h="149">
                    <a:moveTo>
                      <a:pt x="12" y="0"/>
                    </a:moveTo>
                    <a:cubicBezTo>
                      <a:pt x="12" y="0"/>
                      <a:pt x="10" y="24"/>
                      <a:pt x="21" y="28"/>
                    </a:cubicBezTo>
                    <a:cubicBezTo>
                      <a:pt x="31" y="33"/>
                      <a:pt x="33" y="39"/>
                      <a:pt x="56" y="34"/>
                    </a:cubicBezTo>
                    <a:cubicBezTo>
                      <a:pt x="79" y="29"/>
                      <a:pt x="104" y="37"/>
                      <a:pt x="107" y="45"/>
                    </a:cubicBezTo>
                    <a:cubicBezTo>
                      <a:pt x="110" y="52"/>
                      <a:pt x="94" y="65"/>
                      <a:pt x="78" y="65"/>
                    </a:cubicBezTo>
                    <a:cubicBezTo>
                      <a:pt x="62" y="66"/>
                      <a:pt x="41" y="68"/>
                      <a:pt x="41" y="75"/>
                    </a:cubicBezTo>
                    <a:cubicBezTo>
                      <a:pt x="41" y="82"/>
                      <a:pt x="56" y="84"/>
                      <a:pt x="74" y="81"/>
                    </a:cubicBezTo>
                    <a:cubicBezTo>
                      <a:pt x="91" y="78"/>
                      <a:pt x="116" y="77"/>
                      <a:pt x="121" y="90"/>
                    </a:cubicBezTo>
                    <a:cubicBezTo>
                      <a:pt x="125" y="104"/>
                      <a:pt x="109" y="109"/>
                      <a:pt x="94" y="111"/>
                    </a:cubicBezTo>
                    <a:cubicBezTo>
                      <a:pt x="79" y="113"/>
                      <a:pt x="55" y="114"/>
                      <a:pt x="52" y="118"/>
                    </a:cubicBezTo>
                    <a:cubicBezTo>
                      <a:pt x="49" y="122"/>
                      <a:pt x="67" y="127"/>
                      <a:pt x="79" y="125"/>
                    </a:cubicBezTo>
                    <a:cubicBezTo>
                      <a:pt x="90" y="124"/>
                      <a:pt x="111" y="125"/>
                      <a:pt x="112" y="135"/>
                    </a:cubicBezTo>
                    <a:cubicBezTo>
                      <a:pt x="113" y="145"/>
                      <a:pt x="81" y="149"/>
                      <a:pt x="62" y="149"/>
                    </a:cubicBezTo>
                    <a:cubicBezTo>
                      <a:pt x="43" y="149"/>
                      <a:pt x="28" y="143"/>
                      <a:pt x="21" y="135"/>
                    </a:cubicBezTo>
                    <a:cubicBezTo>
                      <a:pt x="13" y="127"/>
                      <a:pt x="0" y="71"/>
                      <a:pt x="1" y="46"/>
                    </a:cubicBezTo>
                    <a:cubicBezTo>
                      <a:pt x="2" y="20"/>
                      <a:pt x="12" y="0"/>
                      <a:pt x="12" y="0"/>
                    </a:cubicBezTo>
                  </a:path>
                </a:pathLst>
              </a:custGeom>
              <a:solidFill>
                <a:srgbClr val="FFE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60313" tIns="80157" rIns="160313" bIns="80157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4376"/>
              </a:p>
            </p:txBody>
          </p:sp>
        </p:grpSp>
      </p:grpSp>
      <p:grpSp>
        <p:nvGrpSpPr>
          <p:cNvPr id="1090" name="Groupe 1089"/>
          <p:cNvGrpSpPr/>
          <p:nvPr/>
        </p:nvGrpSpPr>
        <p:grpSpPr>
          <a:xfrm>
            <a:off x="4195627" y="507179"/>
            <a:ext cx="687753" cy="757242"/>
            <a:chOff x="786806" y="89482"/>
            <a:chExt cx="921391" cy="1014486"/>
          </a:xfrm>
        </p:grpSpPr>
        <p:sp>
          <p:nvSpPr>
            <p:cNvPr id="1091" name="Ellipse 1090"/>
            <p:cNvSpPr/>
            <p:nvPr/>
          </p:nvSpPr>
          <p:spPr>
            <a:xfrm>
              <a:off x="786806" y="182577"/>
              <a:ext cx="921391" cy="921391"/>
            </a:xfrm>
            <a:prstGeom prst="ellipse">
              <a:avLst/>
            </a:prstGeom>
            <a:solidFill>
              <a:srgbClr val="00CC9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092" name="Image 1091">
              <a:extLst>
                <a:ext uri="{FF2B5EF4-FFF2-40B4-BE49-F238E27FC236}">
                  <a16:creationId xmlns:a16="http://schemas.microsoft.com/office/drawing/2014/main" id="{C7D0EBFA-75A6-41DA-AC13-262F7FAFFAE2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997838" y="89482"/>
              <a:ext cx="591933" cy="986555"/>
            </a:xfrm>
            <a:prstGeom prst="rect">
              <a:avLst/>
            </a:prstGeom>
          </p:spPr>
        </p:pic>
      </p:grpSp>
      <p:grpSp>
        <p:nvGrpSpPr>
          <p:cNvPr id="11" name="Groupe 10"/>
          <p:cNvGrpSpPr/>
          <p:nvPr/>
        </p:nvGrpSpPr>
        <p:grpSpPr>
          <a:xfrm>
            <a:off x="34397" y="3292799"/>
            <a:ext cx="3123741" cy="1269304"/>
            <a:chOff x="380891" y="3798176"/>
            <a:chExt cx="3123741" cy="1269304"/>
          </a:xfrm>
        </p:grpSpPr>
        <p:sp>
          <p:nvSpPr>
            <p:cNvPr id="1287" name="ZoneTexte 1286">
              <a:extLst>
                <a:ext uri="{FF2B5EF4-FFF2-40B4-BE49-F238E27FC236}">
                  <a16:creationId xmlns:a16="http://schemas.microsoft.com/office/drawing/2014/main" id="{8C43F6C6-63EF-48C2-8B0F-50FBF6C3F799}"/>
                </a:ext>
              </a:extLst>
            </p:cNvPr>
            <p:cNvSpPr txBox="1"/>
            <p:nvPr/>
          </p:nvSpPr>
          <p:spPr>
            <a:xfrm>
              <a:off x="616925" y="3890509"/>
              <a:ext cx="682042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600" b="1" dirty="0">
                  <a:solidFill>
                    <a:schemeClr val="accent4"/>
                  </a:solidFill>
                  <a:latin typeface="Michelin SemiBold" panose="02000000000000000000" pitchFamily="50" charset="0"/>
                </a:rPr>
                <a:t>VISION</a:t>
              </a:r>
              <a:endParaRPr lang="en-US" sz="600" b="1" dirty="0">
                <a:solidFill>
                  <a:schemeClr val="accent4"/>
                </a:solidFill>
                <a:latin typeface="Michelin SemiBold" panose="02000000000000000000" pitchFamily="50" charset="0"/>
              </a:endParaRPr>
            </a:p>
          </p:txBody>
        </p:sp>
        <p:sp>
          <p:nvSpPr>
            <p:cNvPr id="1288" name="ZoneTexte 1287">
              <a:extLst>
                <a:ext uri="{FF2B5EF4-FFF2-40B4-BE49-F238E27FC236}">
                  <a16:creationId xmlns:a16="http://schemas.microsoft.com/office/drawing/2014/main" id="{F6016607-4927-4F11-BCB4-088F6FC8C707}"/>
                </a:ext>
              </a:extLst>
            </p:cNvPr>
            <p:cNvSpPr txBox="1"/>
            <p:nvPr/>
          </p:nvSpPr>
          <p:spPr>
            <a:xfrm>
              <a:off x="380891" y="4852754"/>
              <a:ext cx="1050850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600" b="1" dirty="0">
                  <a:solidFill>
                    <a:schemeClr val="accent6"/>
                  </a:solidFill>
                  <a:latin typeface="Michelin SemiBold" panose="02000000000000000000" pitchFamily="50" charset="0"/>
                </a:rPr>
                <a:t>EMERGENT</a:t>
              </a:r>
              <a:endParaRPr lang="en-US" sz="600" b="1" dirty="0">
                <a:solidFill>
                  <a:schemeClr val="accent6"/>
                </a:solidFill>
                <a:latin typeface="Michelin SemiBold" panose="02000000000000000000" pitchFamily="50" charset="0"/>
              </a:endParaRPr>
            </a:p>
          </p:txBody>
        </p:sp>
        <p:sp>
          <p:nvSpPr>
            <p:cNvPr id="1290" name="ZoneTexte 1289">
              <a:extLst>
                <a:ext uri="{FF2B5EF4-FFF2-40B4-BE49-F238E27FC236}">
                  <a16:creationId xmlns:a16="http://schemas.microsoft.com/office/drawing/2014/main" id="{5B70EA2A-B6D0-4BEB-BCD6-06EE41B0369E}"/>
                </a:ext>
              </a:extLst>
            </p:cNvPr>
            <p:cNvSpPr txBox="1"/>
            <p:nvPr/>
          </p:nvSpPr>
          <p:spPr>
            <a:xfrm>
              <a:off x="2268021" y="3798176"/>
              <a:ext cx="1050850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600" b="1" dirty="0">
                  <a:solidFill>
                    <a:schemeClr val="accent3"/>
                  </a:solidFill>
                  <a:latin typeface="Michelin SemiBold" panose="02000000000000000000" pitchFamily="50" charset="0"/>
                </a:rPr>
                <a:t>INTENTIONAL</a:t>
              </a:r>
              <a:endParaRPr lang="en-US" sz="600" b="1" dirty="0">
                <a:solidFill>
                  <a:schemeClr val="accent3"/>
                </a:solidFill>
                <a:latin typeface="Michelin SemiBold" panose="02000000000000000000" pitchFamily="50" charset="0"/>
              </a:endParaRPr>
            </a:p>
          </p:txBody>
        </p:sp>
        <p:sp>
          <p:nvSpPr>
            <p:cNvPr id="1291" name="Freeform 7">
              <a:extLst>
                <a:ext uri="{FF2B5EF4-FFF2-40B4-BE49-F238E27FC236}">
                  <a16:creationId xmlns:a16="http://schemas.microsoft.com/office/drawing/2014/main" id="{A6ABCEEA-8610-4EE6-BBB0-9B825F7FAF31}"/>
                </a:ext>
              </a:extLst>
            </p:cNvPr>
            <p:cNvSpPr>
              <a:spLocks/>
            </p:cNvSpPr>
            <p:nvPr/>
          </p:nvSpPr>
          <p:spPr bwMode="gray">
            <a:xfrm rot="3759769" flipV="1">
              <a:off x="1803222" y="4592942"/>
              <a:ext cx="260882" cy="347596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0710991"/>
                <a:gd name="adj5" fmla="val 12500"/>
              </a:avLst>
            </a:prstGeom>
            <a:solidFill>
              <a:schemeClr val="accent3"/>
            </a:solidFill>
            <a:ln w="3175">
              <a:solidFill>
                <a:schemeClr val="accent1">
                  <a:lumMod val="60000"/>
                  <a:lumOff val="40000"/>
                </a:schemeClr>
              </a:solidFill>
              <a:miter lim="800000"/>
              <a:headEnd/>
              <a:tailEnd/>
            </a:ln>
            <a:effectLst/>
          </p:spPr>
          <p:txBody>
            <a:bodyPr lIns="410810" tIns="273873" rIns="410810" bIns="273873" anchor="ctr"/>
            <a:lstStyle/>
            <a:p>
              <a:pPr algn="ctr" defTabSz="304946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6849" b="1" dirty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1292" name="Freeform 7">
              <a:extLst>
                <a:ext uri="{FF2B5EF4-FFF2-40B4-BE49-F238E27FC236}">
                  <a16:creationId xmlns:a16="http://schemas.microsoft.com/office/drawing/2014/main" id="{11E9E45A-F46E-4115-AA0A-D146F36D9593}"/>
                </a:ext>
              </a:extLst>
            </p:cNvPr>
            <p:cNvSpPr>
              <a:spLocks/>
            </p:cNvSpPr>
            <p:nvPr/>
          </p:nvSpPr>
          <p:spPr bwMode="gray">
            <a:xfrm rot="15430620" flipV="1">
              <a:off x="1917255" y="4552813"/>
              <a:ext cx="296139" cy="331340"/>
            </a:xfrm>
            <a:prstGeom prst="circularArrow">
              <a:avLst/>
            </a:prstGeom>
            <a:solidFill>
              <a:schemeClr val="accent3"/>
            </a:solidFill>
            <a:ln w="3175">
              <a:solidFill>
                <a:schemeClr val="accent1">
                  <a:lumMod val="60000"/>
                  <a:lumOff val="40000"/>
                </a:schemeClr>
              </a:solidFill>
              <a:miter lim="800000"/>
              <a:headEnd/>
              <a:tailEnd/>
            </a:ln>
            <a:effectLst/>
          </p:spPr>
          <p:txBody>
            <a:bodyPr lIns="410810" tIns="273873" rIns="410810" bIns="273873" anchor="ctr"/>
            <a:lstStyle/>
            <a:p>
              <a:pPr algn="ctr" defTabSz="304946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6849" b="1" dirty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1293" name="ZoneTexte 1292">
              <a:extLst>
                <a:ext uri="{FF2B5EF4-FFF2-40B4-BE49-F238E27FC236}">
                  <a16:creationId xmlns:a16="http://schemas.microsoft.com/office/drawing/2014/main" id="{014F74DB-222B-4315-9EF3-95B62052B4F0}"/>
                </a:ext>
              </a:extLst>
            </p:cNvPr>
            <p:cNvSpPr txBox="1"/>
            <p:nvPr/>
          </p:nvSpPr>
          <p:spPr>
            <a:xfrm>
              <a:off x="1753687" y="4882814"/>
              <a:ext cx="1050850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600" b="1" dirty="0">
                  <a:solidFill>
                    <a:schemeClr val="accent3"/>
                  </a:solidFill>
                  <a:latin typeface="Michelin SemiBold" panose="02000000000000000000" pitchFamily="50" charset="0"/>
                </a:rPr>
                <a:t>SYSTEMIC</a:t>
              </a:r>
              <a:endParaRPr lang="en-US" sz="600" b="1" dirty="0">
                <a:solidFill>
                  <a:schemeClr val="accent3"/>
                </a:solidFill>
                <a:latin typeface="Michelin SemiBold" panose="02000000000000000000" pitchFamily="50" charset="0"/>
              </a:endParaRPr>
            </a:p>
          </p:txBody>
        </p:sp>
        <p:sp>
          <p:nvSpPr>
            <p:cNvPr id="1294" name="ZoneTexte 1293">
              <a:extLst>
                <a:ext uri="{FF2B5EF4-FFF2-40B4-BE49-F238E27FC236}">
                  <a16:creationId xmlns:a16="http://schemas.microsoft.com/office/drawing/2014/main" id="{9BC6261B-16F3-4985-BD66-A90196BC65BA}"/>
                </a:ext>
              </a:extLst>
            </p:cNvPr>
            <p:cNvSpPr txBox="1"/>
            <p:nvPr/>
          </p:nvSpPr>
          <p:spPr>
            <a:xfrm>
              <a:off x="1270898" y="3972481"/>
              <a:ext cx="96557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600" dirty="0" err="1">
                  <a:solidFill>
                    <a:srgbClr val="27509B"/>
                  </a:solidFill>
                  <a:latin typeface="Michelin Black" panose="02000000000000000000" pitchFamily="50" charset="0"/>
                </a:rPr>
                <a:t>Scoping</a:t>
              </a:r>
              <a:endParaRPr lang="fr-FR" sz="600" dirty="0">
                <a:solidFill>
                  <a:srgbClr val="27509B"/>
                </a:solidFill>
                <a:latin typeface="Michelin Black" panose="02000000000000000000" pitchFamily="50" charset="0"/>
              </a:endParaRPr>
            </a:p>
            <a:p>
              <a:pPr algn="ctr"/>
              <a:r>
                <a:rPr lang="fr-FR" sz="600" dirty="0">
                  <a:solidFill>
                    <a:srgbClr val="27509B"/>
                  </a:solidFill>
                  <a:latin typeface="Michelin Black" panose="02000000000000000000" pitchFamily="50" charset="0"/>
                </a:rPr>
                <a:t> 360°</a:t>
              </a:r>
              <a:endParaRPr lang="en-US" sz="600" dirty="0">
                <a:solidFill>
                  <a:srgbClr val="27509B"/>
                </a:solidFill>
                <a:latin typeface="Michelin Black" panose="02000000000000000000" pitchFamily="50" charset="0"/>
              </a:endParaRPr>
            </a:p>
          </p:txBody>
        </p:sp>
        <p:sp>
          <p:nvSpPr>
            <p:cNvPr id="2" name="ZoneTexte 1">
              <a:extLst>
                <a:ext uri="{FF2B5EF4-FFF2-40B4-BE49-F238E27FC236}">
                  <a16:creationId xmlns:a16="http://schemas.microsoft.com/office/drawing/2014/main" id="{40EE5958-19EC-4F21-A2F6-8CE3B4873F14}"/>
                </a:ext>
              </a:extLst>
            </p:cNvPr>
            <p:cNvSpPr txBox="1"/>
            <p:nvPr/>
          </p:nvSpPr>
          <p:spPr>
            <a:xfrm>
              <a:off x="2387292" y="4239135"/>
              <a:ext cx="817779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600" b="1" dirty="0">
                  <a:solidFill>
                    <a:srgbClr val="C0504D"/>
                  </a:solidFill>
                  <a:latin typeface="Michelin SemiBold" panose="02000000000000000000" pitchFamily="50" charset="0"/>
                </a:rPr>
                <a:t>Run</a:t>
              </a:r>
            </a:p>
          </p:txBody>
        </p:sp>
        <p:sp>
          <p:nvSpPr>
            <p:cNvPr id="735" name="ZoneTexte 734">
              <a:extLst>
                <a:ext uri="{FF2B5EF4-FFF2-40B4-BE49-F238E27FC236}">
                  <a16:creationId xmlns:a16="http://schemas.microsoft.com/office/drawing/2014/main" id="{F7184256-B383-4253-B28C-E7638FC0C60A}"/>
                </a:ext>
              </a:extLst>
            </p:cNvPr>
            <p:cNvSpPr txBox="1"/>
            <p:nvPr/>
          </p:nvSpPr>
          <p:spPr>
            <a:xfrm>
              <a:off x="562446" y="4382677"/>
              <a:ext cx="972704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600" b="1" dirty="0">
                  <a:solidFill>
                    <a:schemeClr val="accent5"/>
                  </a:solidFill>
                  <a:latin typeface="Michelin SemiBold" panose="02000000000000000000" pitchFamily="50" charset="0"/>
                </a:rPr>
                <a:t>LEARNINGS</a:t>
              </a:r>
            </a:p>
          </p:txBody>
        </p:sp>
        <p:sp>
          <p:nvSpPr>
            <p:cNvPr id="738" name="ZoneTexte 737">
              <a:extLst>
                <a:ext uri="{FF2B5EF4-FFF2-40B4-BE49-F238E27FC236}">
                  <a16:creationId xmlns:a16="http://schemas.microsoft.com/office/drawing/2014/main" id="{F5AFE7A0-62CD-4874-939C-8A54338CCD32}"/>
                </a:ext>
              </a:extLst>
            </p:cNvPr>
            <p:cNvSpPr txBox="1"/>
            <p:nvPr/>
          </p:nvSpPr>
          <p:spPr>
            <a:xfrm>
              <a:off x="2282749" y="4533817"/>
              <a:ext cx="1221883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600" b="1" dirty="0">
                  <a:solidFill>
                    <a:srgbClr val="E3DE00"/>
                  </a:solidFill>
                  <a:latin typeface="Michelin SemiBold" panose="02000000000000000000" pitchFamily="50" charset="0"/>
                </a:rPr>
                <a:t>ORGANISATION</a:t>
              </a:r>
            </a:p>
          </p:txBody>
        </p:sp>
        <p:cxnSp>
          <p:nvCxnSpPr>
            <p:cNvPr id="742" name="Connecteur droit avec flèche 741"/>
            <p:cNvCxnSpPr>
              <a:stCxn id="1287" idx="2"/>
            </p:cNvCxnSpPr>
            <p:nvPr/>
          </p:nvCxnSpPr>
          <p:spPr>
            <a:xfrm>
              <a:off x="957946" y="4075175"/>
              <a:ext cx="478854" cy="301550"/>
            </a:xfrm>
            <a:prstGeom prst="straightConnector1">
              <a:avLst/>
            </a:prstGeom>
            <a:ln w="19050">
              <a:solidFill>
                <a:srgbClr val="7030A0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3" name="Connecteur droit avec flèche 742"/>
            <p:cNvCxnSpPr/>
            <p:nvPr/>
          </p:nvCxnSpPr>
          <p:spPr>
            <a:xfrm flipH="1">
              <a:off x="2102991" y="3966576"/>
              <a:ext cx="462575" cy="393187"/>
            </a:xfrm>
            <a:prstGeom prst="straightConnector1">
              <a:avLst/>
            </a:prstGeom>
            <a:ln w="19050">
              <a:solidFill>
                <a:srgbClr val="92D050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5" name="Connecteur droit avec flèche 744"/>
            <p:cNvCxnSpPr/>
            <p:nvPr/>
          </p:nvCxnSpPr>
          <p:spPr>
            <a:xfrm flipV="1">
              <a:off x="1065957" y="4604787"/>
              <a:ext cx="371770" cy="278027"/>
            </a:xfrm>
            <a:prstGeom prst="straightConnector1">
              <a:avLst/>
            </a:prstGeom>
            <a:ln w="19050">
              <a:solidFill>
                <a:srgbClr val="FFDB69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0" name="Image 9"/>
            <p:cNvPicPr>
              <a:picLocks noChangeAspect="1"/>
            </p:cNvPicPr>
            <p:nvPr/>
          </p:nvPicPr>
          <p:blipFill rotWithShape="1"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045" t="12645" r="28687" b="13105"/>
            <a:stretch/>
          </p:blipFill>
          <p:spPr>
            <a:xfrm>
              <a:off x="1482108" y="4299774"/>
              <a:ext cx="591425" cy="379246"/>
            </a:xfrm>
            <a:prstGeom prst="rect">
              <a:avLst/>
            </a:prstGeom>
          </p:spPr>
        </p:pic>
      </p:grpSp>
      <p:pic>
        <p:nvPicPr>
          <p:cNvPr id="14" name="Image 13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8961" y="1092105"/>
            <a:ext cx="393093" cy="393093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1217" y="1635406"/>
            <a:ext cx="497347" cy="497347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8724" y="1622063"/>
            <a:ext cx="497347" cy="497347"/>
          </a:xfrm>
          <a:prstGeom prst="rect">
            <a:avLst/>
          </a:prstGeom>
        </p:spPr>
      </p:pic>
      <p:sp>
        <p:nvSpPr>
          <p:cNvPr id="1094" name="ZoneTexte 1093">
            <a:extLst>
              <a:ext uri="{FF2B5EF4-FFF2-40B4-BE49-F238E27FC236}">
                <a16:creationId xmlns:a16="http://schemas.microsoft.com/office/drawing/2014/main" id="{D092A91C-3800-46F7-A633-61514963B908}"/>
              </a:ext>
            </a:extLst>
          </p:cNvPr>
          <p:cNvSpPr txBox="1"/>
          <p:nvPr/>
        </p:nvSpPr>
        <p:spPr>
          <a:xfrm>
            <a:off x="4517503" y="2098569"/>
            <a:ext cx="72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800">
                <a:solidFill>
                  <a:srgbClr val="C0504D"/>
                </a:solidFill>
                <a:latin typeface="Michelin Black" panose="02000000000000000000" pitchFamily="50" charset="0"/>
              </a:defRPr>
            </a:lvl1pPr>
          </a:lstStyle>
          <a:p>
            <a:pPr algn="ctr">
              <a:defRPr/>
            </a:pPr>
            <a:r>
              <a:rPr lang="fr-FR" sz="500" b="1" dirty="0">
                <a:solidFill>
                  <a:schemeClr val="tx2"/>
                </a:solidFill>
                <a:cs typeface="Aharoni" panose="02010803020104030203" pitchFamily="2" charset="-79"/>
              </a:rPr>
              <a:t>Full </a:t>
            </a:r>
            <a:r>
              <a:rPr lang="fr-FR" sz="500" b="1" dirty="0" err="1">
                <a:solidFill>
                  <a:schemeClr val="tx2"/>
                </a:solidFill>
                <a:cs typeface="Aharoni" panose="02010803020104030203" pitchFamily="2" charset="-79"/>
              </a:rPr>
              <a:t>stack</a:t>
            </a:r>
            <a:endParaRPr lang="fr-FR" sz="500" b="1" dirty="0">
              <a:solidFill>
                <a:schemeClr val="tx2"/>
              </a:solidFill>
              <a:cs typeface="Aharoni" panose="02010803020104030203" pitchFamily="2" charset="-79"/>
            </a:endParaRPr>
          </a:p>
          <a:p>
            <a:pPr algn="ctr">
              <a:defRPr/>
            </a:pPr>
            <a:r>
              <a:rPr lang="fr-FR" sz="500" b="1" dirty="0">
                <a:solidFill>
                  <a:schemeClr val="tx2"/>
                </a:solidFill>
                <a:cs typeface="Aharoni" panose="02010803020104030203" pitchFamily="2" charset="-79"/>
              </a:rPr>
              <a:t>ARCHITECT</a:t>
            </a:r>
            <a:endParaRPr lang="en-US" sz="500" b="1" dirty="0">
              <a:solidFill>
                <a:schemeClr val="tx2"/>
              </a:solidFill>
              <a:cs typeface="Aharoni" panose="02010803020104030203" pitchFamily="2" charset="-79"/>
            </a:endParaRPr>
          </a:p>
        </p:txBody>
      </p:sp>
      <p:sp>
        <p:nvSpPr>
          <p:cNvPr id="1096" name="ZoneTexte 1095">
            <a:extLst>
              <a:ext uri="{FF2B5EF4-FFF2-40B4-BE49-F238E27FC236}">
                <a16:creationId xmlns:a16="http://schemas.microsoft.com/office/drawing/2014/main" id="{D092A91C-3800-46F7-A633-61514963B908}"/>
              </a:ext>
            </a:extLst>
          </p:cNvPr>
          <p:cNvSpPr txBox="1"/>
          <p:nvPr/>
        </p:nvSpPr>
        <p:spPr>
          <a:xfrm>
            <a:off x="3327696" y="1364331"/>
            <a:ext cx="7246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800">
                <a:solidFill>
                  <a:srgbClr val="C0504D"/>
                </a:solidFill>
                <a:latin typeface="Michelin Black" panose="02000000000000000000" pitchFamily="50" charset="0"/>
              </a:defRPr>
            </a:lvl1pPr>
          </a:lstStyle>
          <a:p>
            <a:pPr algn="ctr">
              <a:defRPr/>
            </a:pPr>
            <a:r>
              <a:rPr lang="fr-FR" sz="400" b="1" dirty="0" err="1">
                <a:solidFill>
                  <a:schemeClr val="bg1"/>
                </a:solidFill>
                <a:cs typeface="Aharoni" panose="02010803020104030203" pitchFamily="2" charset="-79"/>
              </a:rPr>
              <a:t>enterprise</a:t>
            </a:r>
            <a:endParaRPr lang="fr-FR" sz="400" b="1" dirty="0">
              <a:solidFill>
                <a:schemeClr val="bg1"/>
              </a:solidFill>
              <a:cs typeface="Aharoni" panose="02010803020104030203" pitchFamily="2" charset="-79"/>
            </a:endParaRPr>
          </a:p>
          <a:p>
            <a:pPr algn="ctr">
              <a:defRPr/>
            </a:pPr>
            <a:r>
              <a:rPr lang="fr-FR" sz="400" b="1" dirty="0">
                <a:solidFill>
                  <a:schemeClr val="bg1"/>
                </a:solidFill>
                <a:cs typeface="Aharoni" panose="02010803020104030203" pitchFamily="2" charset="-79"/>
              </a:rPr>
              <a:t>ARCHITECT</a:t>
            </a:r>
            <a:endParaRPr lang="en-US" sz="400" b="1" dirty="0">
              <a:solidFill>
                <a:schemeClr val="bg1"/>
              </a:solidFill>
              <a:cs typeface="Aharoni" panose="02010803020104030203" pitchFamily="2" charset="-79"/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3399" y="1320752"/>
            <a:ext cx="408478" cy="408478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1139" y="1632324"/>
            <a:ext cx="408478" cy="408478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7262" y="1924112"/>
            <a:ext cx="408478" cy="408478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E9011C85-F645-4629-8160-89C266FE7DD7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3752498" y="4560635"/>
            <a:ext cx="1436370" cy="582865"/>
          </a:xfrm>
          <a:prstGeom prst="rect">
            <a:avLst/>
          </a:prstGeom>
        </p:spPr>
      </p:pic>
      <p:grpSp>
        <p:nvGrpSpPr>
          <p:cNvPr id="645" name="Groupe 644">
            <a:extLst>
              <a:ext uri="{FF2B5EF4-FFF2-40B4-BE49-F238E27FC236}">
                <a16:creationId xmlns:a16="http://schemas.microsoft.com/office/drawing/2014/main" id="{78D91FF0-D82A-4628-94E9-53B3C855A15E}"/>
              </a:ext>
            </a:extLst>
          </p:cNvPr>
          <p:cNvGrpSpPr/>
          <p:nvPr/>
        </p:nvGrpSpPr>
        <p:grpSpPr>
          <a:xfrm>
            <a:off x="7235602" y="2915612"/>
            <a:ext cx="878930" cy="864234"/>
            <a:chOff x="7172725" y="123771"/>
            <a:chExt cx="1073393" cy="1090375"/>
          </a:xfrm>
        </p:grpSpPr>
        <p:sp>
          <p:nvSpPr>
            <p:cNvPr id="646" name="Ellipse 645">
              <a:extLst>
                <a:ext uri="{FF2B5EF4-FFF2-40B4-BE49-F238E27FC236}">
                  <a16:creationId xmlns:a16="http://schemas.microsoft.com/office/drawing/2014/main" id="{86862685-9D8E-4D53-90CA-825D5D22796F}"/>
                </a:ext>
              </a:extLst>
            </p:cNvPr>
            <p:cNvSpPr/>
            <p:nvPr/>
          </p:nvSpPr>
          <p:spPr>
            <a:xfrm>
              <a:off x="7231385" y="123771"/>
              <a:ext cx="921391" cy="921391"/>
            </a:xfrm>
            <a:prstGeom prst="ellipse">
              <a:avLst/>
            </a:prstGeom>
            <a:solidFill>
              <a:srgbClr val="00CC9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647" name="Image 646">
              <a:extLst>
                <a:ext uri="{FF2B5EF4-FFF2-40B4-BE49-F238E27FC236}">
                  <a16:creationId xmlns:a16="http://schemas.microsoft.com/office/drawing/2014/main" id="{80DDDE5B-AB8A-47B9-8F3D-573F8615E4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72725" y="140753"/>
              <a:ext cx="1073393" cy="1073393"/>
            </a:xfrm>
            <a:prstGeom prst="rect">
              <a:avLst/>
            </a:prstGeom>
          </p:spPr>
        </p:pic>
      </p:grpSp>
      <p:sp>
        <p:nvSpPr>
          <p:cNvPr id="12" name="ZoneTexte 11">
            <a:extLst>
              <a:ext uri="{FF2B5EF4-FFF2-40B4-BE49-F238E27FC236}">
                <a16:creationId xmlns:a16="http://schemas.microsoft.com/office/drawing/2014/main" id="{7183D706-7400-4CC4-9B92-ED53A64B2541}"/>
              </a:ext>
            </a:extLst>
          </p:cNvPr>
          <p:cNvSpPr txBox="1"/>
          <p:nvPr/>
        </p:nvSpPr>
        <p:spPr>
          <a:xfrm>
            <a:off x="6696519" y="2554476"/>
            <a:ext cx="20427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rgbClr val="00CC9B"/>
                </a:solidFill>
                <a:latin typeface="Gotham Rounded Bold" pitchFamily="50" charset="0"/>
              </a:rPr>
              <a:t>NEW PRACTICES</a:t>
            </a:r>
            <a:endParaRPr lang="fr-FR" sz="1050" dirty="0">
              <a:solidFill>
                <a:srgbClr val="00CC9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D5379868-0759-41AB-BC8C-EC3BEA3D730B}"/>
              </a:ext>
            </a:extLst>
          </p:cNvPr>
          <p:cNvSpPr txBox="1"/>
          <p:nvPr/>
        </p:nvSpPr>
        <p:spPr>
          <a:xfrm>
            <a:off x="547697" y="2294520"/>
            <a:ext cx="20427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rgbClr val="00CC9B"/>
                </a:solidFill>
                <a:latin typeface="Gotham Rounded Bold" pitchFamily="50" charset="0"/>
              </a:rPr>
              <a:t>NEW RITUALS</a:t>
            </a:r>
            <a:endParaRPr lang="fr-FR" sz="1050" dirty="0">
              <a:solidFill>
                <a:srgbClr val="00CC9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3F41C5CA-3EA3-4798-9815-66E2E268AC31}"/>
              </a:ext>
            </a:extLst>
          </p:cNvPr>
          <p:cNvSpPr txBox="1"/>
          <p:nvPr/>
        </p:nvSpPr>
        <p:spPr>
          <a:xfrm>
            <a:off x="3831341" y="207682"/>
            <a:ext cx="20427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rgbClr val="00CC9B"/>
                </a:solidFill>
                <a:latin typeface="Gotham Rounded Bold" pitchFamily="50" charset="0"/>
              </a:rPr>
              <a:t>NEW ROLES</a:t>
            </a:r>
            <a:endParaRPr lang="fr-FR" sz="1050" dirty="0">
              <a:solidFill>
                <a:srgbClr val="00CC9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7E6AC722-7D48-40B7-A60B-1EFD2C47AF15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7735435" y="68076"/>
            <a:ext cx="1416136" cy="1373800"/>
          </a:xfrm>
          <a:prstGeom prst="rect">
            <a:avLst/>
          </a:prstGeom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82E2F64A-5E30-4E3C-974A-A710EABF571E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341854" y="10656"/>
            <a:ext cx="1233993" cy="1297479"/>
          </a:xfrm>
          <a:prstGeom prst="rect">
            <a:avLst/>
          </a:prstGeom>
        </p:spPr>
      </p:pic>
      <p:sp>
        <p:nvSpPr>
          <p:cNvPr id="36" name="ZoneTexte 35">
            <a:extLst>
              <a:ext uri="{FF2B5EF4-FFF2-40B4-BE49-F238E27FC236}">
                <a16:creationId xmlns:a16="http://schemas.microsoft.com/office/drawing/2014/main" id="{9B778992-6F41-48FB-A03F-E7D113C4A040}"/>
              </a:ext>
            </a:extLst>
          </p:cNvPr>
          <p:cNvSpPr txBox="1"/>
          <p:nvPr/>
        </p:nvSpPr>
        <p:spPr>
          <a:xfrm>
            <a:off x="237300" y="1291781"/>
            <a:ext cx="14283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1000">
                <a:solidFill>
                  <a:srgbClr val="27509B"/>
                </a:solidFill>
                <a:latin typeface="Gotham Rounded Medium" panose="02000000000000000000" pitchFamily="50" charset="0"/>
                <a:cs typeface="Arial" panose="020B0604020202020204" pitchFamily="34" charset="0"/>
              </a:defRPr>
            </a:lvl1pPr>
          </a:lstStyle>
          <a:p>
            <a:r>
              <a:rPr lang="fr-FR" dirty="0" err="1"/>
              <a:t>sustainable</a:t>
            </a:r>
            <a:r>
              <a:rPr lang="fr-FR" dirty="0"/>
              <a:t> and </a:t>
            </a:r>
            <a:r>
              <a:rPr lang="fr-FR" dirty="0" err="1"/>
              <a:t>systemic</a:t>
            </a:r>
            <a:r>
              <a:rPr lang="fr-FR" dirty="0"/>
              <a:t> </a:t>
            </a:r>
            <a:r>
              <a:rPr lang="fr-FR" dirty="0" err="1"/>
              <a:t>approach</a:t>
            </a:r>
            <a:endParaRPr lang="fr-FR" dirty="0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CF161571-1AB0-407F-A9A2-811829ECF4E5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8739228" y="4930908"/>
            <a:ext cx="474623" cy="212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7567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1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HAPITR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FIN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3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4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B6676EFF43BD44A973BAF3C3F8897C" ma:contentTypeVersion="11" ma:contentTypeDescription="Crée un document." ma:contentTypeScope="" ma:versionID="16055b838173ea074c74866c85749e9f">
  <xsd:schema xmlns:xsd="http://www.w3.org/2001/XMLSchema" xmlns:xs="http://www.w3.org/2001/XMLSchema" xmlns:p="http://schemas.microsoft.com/office/2006/metadata/properties" xmlns:ns3="e2e26994-5e48-4994-8c16-0b6f61c4bc8a" xmlns:ns4="9f09b4db-7fdb-4a79-a1ce-e7e1d5ac2b17" targetNamespace="http://schemas.microsoft.com/office/2006/metadata/properties" ma:root="true" ma:fieldsID="7356ef530764415288c8753ef1e753cb" ns3:_="" ns4:_="">
    <xsd:import namespace="e2e26994-5e48-4994-8c16-0b6f61c4bc8a"/>
    <xsd:import namespace="9f09b4db-7fdb-4a79-a1ce-e7e1d5ac2b1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e26994-5e48-4994-8c16-0b6f61c4bc8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Partage du hachage d’indicateur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09b4db-7fdb-4a79-a1ce-e7e1d5ac2b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C97AAC-D16A-478F-95B1-E9944B8633B3}">
  <ds:schemaRefs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purl.org/dc/elements/1.1/"/>
    <ds:schemaRef ds:uri="9f09b4db-7fdb-4a79-a1ce-e7e1d5ac2b17"/>
    <ds:schemaRef ds:uri="e2e26994-5e48-4994-8c16-0b6f61c4bc8a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345BF31-44AE-4465-BECF-E43C8C381DB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356EDEC-1E5B-420F-8256-B6314DAD35F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2e26994-5e48-4994-8c16-0b6f61c4bc8a"/>
    <ds:schemaRef ds:uri="9f09b4db-7fdb-4a79-a1ce-e7e1d5ac2b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1</Words>
  <Application>Microsoft Office PowerPoint</Application>
  <PresentationFormat>Affichage à l'écran (16:9)</PresentationFormat>
  <Paragraphs>57</Paragraphs>
  <Slides>1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13</vt:i4>
      </vt:variant>
      <vt:variant>
        <vt:lpstr>Thème</vt:lpstr>
      </vt:variant>
      <vt:variant>
        <vt:i4>8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23" baseType="lpstr">
      <vt:lpstr>Aharoni</vt:lpstr>
      <vt:lpstr>Arial</vt:lpstr>
      <vt:lpstr>Calibri</vt:lpstr>
      <vt:lpstr>Gotham Rounded Bold</vt:lpstr>
      <vt:lpstr>Gotham Rounded Medium</vt:lpstr>
      <vt:lpstr>Lucida Grande</vt:lpstr>
      <vt:lpstr>Michelin</vt:lpstr>
      <vt:lpstr>Michelin Black</vt:lpstr>
      <vt:lpstr>Michelin SemiBold</vt:lpstr>
      <vt:lpstr>Rounded Elegance</vt:lpstr>
      <vt:lpstr>Segoe Script</vt:lpstr>
      <vt:lpstr>Wingdings</vt:lpstr>
      <vt:lpstr>Wingdings 3</vt:lpstr>
      <vt:lpstr>SLIDE 1</vt:lpstr>
      <vt:lpstr>CHAPITRE</vt:lpstr>
      <vt:lpstr>CONTENU</vt:lpstr>
      <vt:lpstr>FIN</vt:lpstr>
      <vt:lpstr>1_CONTENU</vt:lpstr>
      <vt:lpstr>2_CONTENU</vt:lpstr>
      <vt:lpstr>3_CONTENU</vt:lpstr>
      <vt:lpstr>4_CONTENU</vt:lpstr>
      <vt:lpstr>Diapositive think-cell</vt:lpstr>
      <vt:lpstr>Présentation PowerPoint</vt:lpstr>
    </vt:vector>
  </TitlesOfParts>
  <Company>GLUEND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ward a digital Information system EA Steering, March 22nd</dc:title>
  <dc:creator>Nicolas CHEVALIER</dc:creator>
  <cp:lastModifiedBy>nicolas chevalier</cp:lastModifiedBy>
  <cp:revision>573</cp:revision>
  <cp:lastPrinted>2020-01-14T15:27:55Z</cp:lastPrinted>
  <dcterms:modified xsi:type="dcterms:W3CDTF">2020-10-20T16:31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B6676EFF43BD44A973BAF3C3F8897C</vt:lpwstr>
  </property>
</Properties>
</file>